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tiff" ContentType="image/tiff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3" r:id="rId1"/>
  </p:sldMasterIdLst>
  <p:notesMasterIdLst>
    <p:notesMasterId r:id="rId17"/>
  </p:notesMasterIdLst>
  <p:handoutMasterIdLst>
    <p:handoutMasterId r:id="rId18"/>
  </p:handoutMasterIdLst>
  <p:sldIdLst>
    <p:sldId id="837" r:id="rId2"/>
    <p:sldId id="838" r:id="rId3"/>
    <p:sldId id="839" r:id="rId4"/>
    <p:sldId id="840" r:id="rId5"/>
    <p:sldId id="841" r:id="rId6"/>
    <p:sldId id="842" r:id="rId7"/>
    <p:sldId id="843" r:id="rId8"/>
    <p:sldId id="844" r:id="rId9"/>
    <p:sldId id="845" r:id="rId10"/>
    <p:sldId id="851" r:id="rId11"/>
    <p:sldId id="852" r:id="rId12"/>
    <p:sldId id="848" r:id="rId13"/>
    <p:sldId id="849" r:id="rId14"/>
    <p:sldId id="850" r:id="rId15"/>
    <p:sldId id="823" r:id="rId1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2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лизавета Володина" initials="ЕВ" lastIdx="1" clrIdx="0"/>
  <p:cmAuthor id="2" name="Elizaveta Oginskaya" initials="EO" lastIdx="7" clrIdx="1">
    <p:extLst>
      <p:ext uri="{19B8F6BF-5375-455C-9EA6-DF929625EA0E}">
        <p15:presenceInfo xmlns:p15="http://schemas.microsoft.com/office/powerpoint/2012/main" userId="a6b25e01538c224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E4222F"/>
    <a:srgbClr val="006CB1"/>
    <a:srgbClr val="5EA9DD"/>
    <a:srgbClr val="F86400"/>
    <a:srgbClr val="FF036C"/>
    <a:srgbClr val="3B5998"/>
    <a:srgbClr val="4C75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2505" autoAdjust="0"/>
  </p:normalViewPr>
  <p:slideViewPr>
    <p:cSldViewPr showGuides="1">
      <p:cViewPr varScale="1">
        <p:scale>
          <a:sx n="74" d="100"/>
          <a:sy n="74" d="100"/>
        </p:scale>
        <p:origin x="376" y="56"/>
      </p:cViewPr>
      <p:guideLst>
        <p:guide pos="3840"/>
        <p:guide orient="horz" pos="22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65856"/>
    </p:cViewPr>
  </p:sorterViewPr>
  <p:notesViewPr>
    <p:cSldViewPr showGuides="1">
      <p:cViewPr varScale="1">
        <p:scale>
          <a:sx n="50" d="100"/>
          <a:sy n="50" d="100"/>
        </p:scale>
        <p:origin x="26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A6FC3C-4C13-43D7-849B-3F2FFE7C15DC}" type="datetimeFigureOut">
              <a:rPr lang="ru-RU" smtClean="0"/>
              <a:t>21.1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EFF814-09D0-41E7-914E-3957410920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722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0AC7B7-A56B-4457-AF99-AF4AA6B17BF5}" type="datetimeFigureOut">
              <a:rPr lang="ru-RU" smtClean="0"/>
              <a:t>21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385723-F7FD-4228-847A-D6DBA531DD6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02988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Если пояснение не требуется, подпись к иконке сделать черным шрифт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Цифры, числ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85723-F7FD-4228-847A-D6DBA531DD62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136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Если пояснение не требуется, подпись к иконке сделать черным шрифт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Цифры, числ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85723-F7FD-4228-847A-D6DBA531DD62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6032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Если пояснение не требуется, подпись к иконке сделать черным шрифт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Цифры, числ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85723-F7FD-4228-847A-D6DBA531DD62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1812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hyperlink" Target="http://www.changellenge.com/" TargetMode="External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.jpeg"/><Relationship Id="rId18" Type="http://schemas.openxmlformats.org/officeDocument/2006/relationships/image" Target="../media/image33.jpeg"/><Relationship Id="rId26" Type="http://schemas.openxmlformats.org/officeDocument/2006/relationships/image" Target="../media/image41.png"/><Relationship Id="rId39" Type="http://schemas.openxmlformats.org/officeDocument/2006/relationships/image" Target="../media/image54.gif"/><Relationship Id="rId21" Type="http://schemas.openxmlformats.org/officeDocument/2006/relationships/image" Target="../media/image36.jpeg"/><Relationship Id="rId34" Type="http://schemas.openxmlformats.org/officeDocument/2006/relationships/image" Target="../media/image49.png"/><Relationship Id="rId42" Type="http://schemas.openxmlformats.org/officeDocument/2006/relationships/image" Target="../media/image57.jpeg"/><Relationship Id="rId47" Type="http://schemas.openxmlformats.org/officeDocument/2006/relationships/image" Target="../media/image62.jpe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9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11" Type="http://schemas.openxmlformats.org/officeDocument/2006/relationships/image" Target="../media/image26.jpeg"/><Relationship Id="rId24" Type="http://schemas.openxmlformats.org/officeDocument/2006/relationships/image" Target="../media/image39.pn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40" Type="http://schemas.openxmlformats.org/officeDocument/2006/relationships/image" Target="../media/image55.jpeg"/><Relationship Id="rId45" Type="http://schemas.openxmlformats.org/officeDocument/2006/relationships/image" Target="../media/image60.jpe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jpeg"/><Relationship Id="rId28" Type="http://schemas.openxmlformats.org/officeDocument/2006/relationships/image" Target="../media/image43.png"/><Relationship Id="rId36" Type="http://schemas.openxmlformats.org/officeDocument/2006/relationships/image" Target="../media/image51.png"/><Relationship Id="rId10" Type="http://schemas.openxmlformats.org/officeDocument/2006/relationships/image" Target="../media/image25.png"/><Relationship Id="rId19" Type="http://schemas.openxmlformats.org/officeDocument/2006/relationships/image" Target="../media/image34.jpeg"/><Relationship Id="rId31" Type="http://schemas.openxmlformats.org/officeDocument/2006/relationships/image" Target="../media/image46.png"/><Relationship Id="rId44" Type="http://schemas.openxmlformats.org/officeDocument/2006/relationships/image" Target="../media/image59.jpeg"/><Relationship Id="rId4" Type="http://schemas.openxmlformats.org/officeDocument/2006/relationships/image" Target="../media/image19.png"/><Relationship Id="rId9" Type="http://schemas.openxmlformats.org/officeDocument/2006/relationships/image" Target="../media/image24.jpeg"/><Relationship Id="rId14" Type="http://schemas.openxmlformats.org/officeDocument/2006/relationships/image" Target="../media/image29.gif"/><Relationship Id="rId22" Type="http://schemas.openxmlformats.org/officeDocument/2006/relationships/image" Target="../media/image37.png"/><Relationship Id="rId27" Type="http://schemas.openxmlformats.org/officeDocument/2006/relationships/image" Target="../media/image42.png"/><Relationship Id="rId30" Type="http://schemas.openxmlformats.org/officeDocument/2006/relationships/image" Target="../media/image45.png"/><Relationship Id="rId35" Type="http://schemas.openxmlformats.org/officeDocument/2006/relationships/image" Target="../media/image50.png"/><Relationship Id="rId43" Type="http://schemas.openxmlformats.org/officeDocument/2006/relationships/image" Target="../media/image58.jpeg"/><Relationship Id="rId48" Type="http://schemas.openxmlformats.org/officeDocument/2006/relationships/image" Target="../media/image63.jpeg"/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12" Type="http://schemas.openxmlformats.org/officeDocument/2006/relationships/image" Target="../media/image27.png"/><Relationship Id="rId17" Type="http://schemas.openxmlformats.org/officeDocument/2006/relationships/image" Target="../media/image32.jpeg"/><Relationship Id="rId25" Type="http://schemas.openxmlformats.org/officeDocument/2006/relationships/image" Target="../media/image40.jpeg"/><Relationship Id="rId33" Type="http://schemas.openxmlformats.org/officeDocument/2006/relationships/image" Target="../media/image48.png"/><Relationship Id="rId38" Type="http://schemas.openxmlformats.org/officeDocument/2006/relationships/image" Target="../media/image53.png"/><Relationship Id="rId46" Type="http://schemas.openxmlformats.org/officeDocument/2006/relationships/image" Target="../media/image61.png"/><Relationship Id="rId20" Type="http://schemas.openxmlformats.org/officeDocument/2006/relationships/image" Target="../media/image35.png"/><Relationship Id="rId41" Type="http://schemas.openxmlformats.org/officeDocument/2006/relationships/image" Target="../media/image56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hyperlink" Target="http://changellenge.com/" TargetMode="Externa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hyperlink" Target="http://changellenge.com/" TargetMode="Externa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5360" y="2708274"/>
            <a:ext cx="6408340" cy="136842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8073467" y="-27384"/>
            <a:ext cx="4113153" cy="6858000"/>
            <a:chOff x="6164080" y="57"/>
            <a:chExt cx="4520655" cy="7537442"/>
          </a:xfrm>
        </p:grpSpPr>
        <p:sp>
          <p:nvSpPr>
            <p:cNvPr id="7" name="object 12"/>
            <p:cNvSpPr/>
            <p:nvPr userDrawn="1"/>
          </p:nvSpPr>
          <p:spPr>
            <a:xfrm>
              <a:off x="9177854" y="301351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8" name="object 13"/>
            <p:cNvSpPr/>
            <p:nvPr userDrawn="1"/>
          </p:nvSpPr>
          <p:spPr>
            <a:xfrm>
              <a:off x="9177855" y="6030618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9" name="object 14"/>
            <p:cNvSpPr/>
            <p:nvPr userDrawn="1"/>
          </p:nvSpPr>
          <p:spPr>
            <a:xfrm>
              <a:off x="9177855" y="4520401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1435354"/>
                  </a:lnTo>
                  <a:lnTo>
                    <a:pt x="1477251" y="1435354"/>
                  </a:lnTo>
                  <a:lnTo>
                    <a:pt x="71526" y="29629"/>
                  </a:lnTo>
                  <a:lnTo>
                    <a:pt x="1506880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506880" y="29629"/>
                  </a:moveTo>
                  <a:lnTo>
                    <a:pt x="1477251" y="29629"/>
                  </a:lnTo>
                  <a:lnTo>
                    <a:pt x="1477251" y="1435354"/>
                  </a:lnTo>
                  <a:lnTo>
                    <a:pt x="1506880" y="1435354"/>
                  </a:lnTo>
                  <a:lnTo>
                    <a:pt x="1506880" y="29629"/>
                  </a:lnTo>
                  <a:close/>
                </a:path>
              </a:pathLst>
            </a:custGeom>
            <a:solidFill>
              <a:srgbClr val="D6DCDC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0" name="object 15"/>
            <p:cNvSpPr/>
            <p:nvPr userDrawn="1"/>
          </p:nvSpPr>
          <p:spPr>
            <a:xfrm>
              <a:off x="6164080" y="150662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1" name="object 16"/>
            <p:cNvSpPr/>
            <p:nvPr userDrawn="1"/>
          </p:nvSpPr>
          <p:spPr>
            <a:xfrm>
              <a:off x="7670971" y="150667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2" name="object 17"/>
            <p:cNvSpPr/>
            <p:nvPr userDrawn="1"/>
          </p:nvSpPr>
          <p:spPr>
            <a:xfrm>
              <a:off x="9177855" y="57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3" name="object 18"/>
            <p:cNvSpPr/>
            <p:nvPr userDrawn="1"/>
          </p:nvSpPr>
          <p:spPr>
            <a:xfrm>
              <a:off x="7670966" y="150694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4" name="object 19"/>
            <p:cNvSpPr/>
            <p:nvPr userDrawn="1"/>
          </p:nvSpPr>
          <p:spPr>
            <a:xfrm>
              <a:off x="7670971" y="57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1435354"/>
                  </a:lnTo>
                  <a:lnTo>
                    <a:pt x="1477251" y="1435354"/>
                  </a:lnTo>
                  <a:lnTo>
                    <a:pt x="71526" y="29629"/>
                  </a:lnTo>
                  <a:lnTo>
                    <a:pt x="1506880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506880" y="29629"/>
                  </a:moveTo>
                  <a:lnTo>
                    <a:pt x="1477251" y="29629"/>
                  </a:lnTo>
                  <a:lnTo>
                    <a:pt x="1477251" y="1435354"/>
                  </a:lnTo>
                  <a:lnTo>
                    <a:pt x="1506880" y="1435354"/>
                  </a:lnTo>
                  <a:lnTo>
                    <a:pt x="1506880" y="29629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5" name="object 20"/>
            <p:cNvSpPr/>
            <p:nvPr userDrawn="1"/>
          </p:nvSpPr>
          <p:spPr>
            <a:xfrm>
              <a:off x="7670971" y="301351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6" name="object 21"/>
            <p:cNvSpPr/>
            <p:nvPr userDrawn="1"/>
          </p:nvSpPr>
          <p:spPr>
            <a:xfrm>
              <a:off x="6164082" y="4520402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D6DCDC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7" name="object 22"/>
            <p:cNvSpPr/>
            <p:nvPr userDrawn="1"/>
          </p:nvSpPr>
          <p:spPr>
            <a:xfrm>
              <a:off x="7670971" y="452040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E212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8" name="object 23"/>
            <p:cNvSpPr/>
            <p:nvPr userDrawn="1"/>
          </p:nvSpPr>
          <p:spPr>
            <a:xfrm>
              <a:off x="6164080" y="3013521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9" name="object 24"/>
            <p:cNvSpPr/>
            <p:nvPr userDrawn="1"/>
          </p:nvSpPr>
          <p:spPr>
            <a:xfrm>
              <a:off x="9177855" y="150694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0" name="object 25"/>
            <p:cNvSpPr/>
            <p:nvPr userDrawn="1"/>
          </p:nvSpPr>
          <p:spPr>
            <a:xfrm>
              <a:off x="7670971" y="301351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1" name="object 26"/>
            <p:cNvSpPr/>
            <p:nvPr userDrawn="1"/>
          </p:nvSpPr>
          <p:spPr>
            <a:xfrm>
              <a:off x="7670971" y="603061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71526" y="1435353"/>
                  </a:lnTo>
                  <a:lnTo>
                    <a:pt x="29629" y="1435353"/>
                  </a:lnTo>
                  <a:lnTo>
                    <a:pt x="29629" y="29629"/>
                  </a:lnTo>
                  <a:lnTo>
                    <a:pt x="1477251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477251" y="29629"/>
                  </a:moveTo>
                  <a:lnTo>
                    <a:pt x="1435354" y="29629"/>
                  </a:lnTo>
                  <a:lnTo>
                    <a:pt x="29629" y="1435353"/>
                  </a:lnTo>
                  <a:lnTo>
                    <a:pt x="71526" y="1435353"/>
                  </a:lnTo>
                  <a:lnTo>
                    <a:pt x="1477251" y="29629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22" name="object 3"/>
          <p:cNvSpPr/>
          <p:nvPr userDrawn="1"/>
        </p:nvSpPr>
        <p:spPr>
          <a:xfrm>
            <a:off x="496255" y="362562"/>
            <a:ext cx="1722555" cy="28754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2290652" y="332656"/>
            <a:ext cx="581009" cy="331599"/>
            <a:chOff x="2290652" y="399744"/>
            <a:chExt cx="581009" cy="331599"/>
          </a:xfrm>
        </p:grpSpPr>
        <p:sp>
          <p:nvSpPr>
            <p:cNvPr id="24" name="object 4"/>
            <p:cNvSpPr/>
            <p:nvPr userDrawn="1"/>
          </p:nvSpPr>
          <p:spPr>
            <a:xfrm>
              <a:off x="254006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5" name="object 5"/>
            <p:cNvSpPr/>
            <p:nvPr userDrawn="1"/>
          </p:nvSpPr>
          <p:spPr>
            <a:xfrm>
              <a:off x="2540063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6" name="object 6"/>
            <p:cNvSpPr/>
            <p:nvPr userDrawn="1"/>
          </p:nvSpPr>
          <p:spPr>
            <a:xfrm>
              <a:off x="2705861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7" name="object 7"/>
            <p:cNvSpPr/>
            <p:nvPr userDrawn="1"/>
          </p:nvSpPr>
          <p:spPr>
            <a:xfrm>
              <a:off x="2705863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8" name="object 8"/>
            <p:cNvSpPr/>
            <p:nvPr userDrawn="1"/>
          </p:nvSpPr>
          <p:spPr>
            <a:xfrm>
              <a:off x="229065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142354"/>
                  </a:lnTo>
                  <a:lnTo>
                    <a:pt x="156083" y="142354"/>
                  </a:lnTo>
                  <a:lnTo>
                    <a:pt x="23444" y="9715"/>
                  </a:lnTo>
                  <a:lnTo>
                    <a:pt x="165798" y="9715"/>
                  </a:lnTo>
                  <a:lnTo>
                    <a:pt x="165798" y="0"/>
                  </a:lnTo>
                  <a:close/>
                </a:path>
                <a:path w="165798" h="165798">
                  <a:moveTo>
                    <a:pt x="165798" y="9715"/>
                  </a:moveTo>
                  <a:lnTo>
                    <a:pt x="156083" y="9715"/>
                  </a:lnTo>
                  <a:lnTo>
                    <a:pt x="156083" y="142354"/>
                  </a:lnTo>
                  <a:lnTo>
                    <a:pt x="165798" y="142354"/>
                  </a:lnTo>
                  <a:lnTo>
                    <a:pt x="165798" y="9715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9" name="object 9"/>
            <p:cNvSpPr/>
            <p:nvPr userDrawn="1"/>
          </p:nvSpPr>
          <p:spPr>
            <a:xfrm>
              <a:off x="2290652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0" name="object 10"/>
            <p:cNvSpPr/>
            <p:nvPr userDrawn="1"/>
          </p:nvSpPr>
          <p:spPr>
            <a:xfrm>
              <a:off x="2456450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1" name="object 11"/>
            <p:cNvSpPr/>
            <p:nvPr userDrawn="1"/>
          </p:nvSpPr>
          <p:spPr>
            <a:xfrm>
              <a:off x="2456451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33" name="Текст 32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076700"/>
            <a:ext cx="6408737" cy="1368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z="1800" dirty="0"/>
              <a:t>Кратко и ёмко о том, что там такого важного в этой презентации дальш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58502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Основной слайд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1229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спик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8EBD5697-4D29-4623-A8FE-B82A38C5C57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1005" y="1370264"/>
            <a:ext cx="2520000" cy="25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Основной слайд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CBDEB62D-165D-420C-817C-FE9DEC859B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9696" y="1920663"/>
            <a:ext cx="4788942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2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9">
            <a:extLst>
              <a:ext uri="{FF2B5EF4-FFF2-40B4-BE49-F238E27FC236}">
                <a16:creationId xmlns:a16="http://schemas.microsoft.com/office/drawing/2014/main" id="{2437B990-6971-4E32-AE94-ACF24F560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9696" y="2524834"/>
            <a:ext cx="4788942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121467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спикер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8EBD5697-4D29-4623-A8FE-B82A38C5C57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1005" y="1370264"/>
            <a:ext cx="2520000" cy="25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Основной слайд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CBDEB62D-165D-420C-817C-FE9DEC859B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3455" y="4086994"/>
            <a:ext cx="4788942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2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9">
            <a:extLst>
              <a:ext uri="{FF2B5EF4-FFF2-40B4-BE49-F238E27FC236}">
                <a16:creationId xmlns:a16="http://schemas.microsoft.com/office/drawing/2014/main" id="{2437B990-6971-4E32-AE94-ACF24F560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3455" y="4691165"/>
            <a:ext cx="4788942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C41BC1DD-BB5B-4794-8811-5FCD614D843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17461" y="1370264"/>
            <a:ext cx="2520000" cy="25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F5A5C72F-8BC6-48AE-947B-AD76A8C951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19911" y="4086994"/>
            <a:ext cx="4788942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24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9FE1845C-8012-4719-AD49-8F965322A4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9911" y="4691165"/>
            <a:ext cx="4788942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385008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спик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8EBD5697-4D29-4623-A8FE-B82A38C5C57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88908" y="1376772"/>
            <a:ext cx="2290909" cy="229090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Основной слайд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CBDEB62D-165D-420C-817C-FE9DEC859B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906" y="3978956"/>
            <a:ext cx="3270913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defRPr lang="ru-RU" sz="20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9">
            <a:extLst>
              <a:ext uri="{FF2B5EF4-FFF2-40B4-BE49-F238E27FC236}">
                <a16:creationId xmlns:a16="http://schemas.microsoft.com/office/drawing/2014/main" id="{2437B990-6971-4E32-AE94-ACF24F560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906" y="4473090"/>
            <a:ext cx="327091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defRPr lang="ru-RU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2" name="Рисунок 4">
            <a:extLst>
              <a:ext uri="{FF2B5EF4-FFF2-40B4-BE49-F238E27FC236}">
                <a16:creationId xmlns:a16="http://schemas.microsoft.com/office/drawing/2014/main" id="{897F66C1-3302-4982-ABF5-8C8FF8CDBA6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969456" y="1376772"/>
            <a:ext cx="2290909" cy="229090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Текст 9">
            <a:extLst>
              <a:ext uri="{FF2B5EF4-FFF2-40B4-BE49-F238E27FC236}">
                <a16:creationId xmlns:a16="http://schemas.microsoft.com/office/drawing/2014/main" id="{1C833996-E881-4F35-B213-72E68043B2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9454" y="3978956"/>
            <a:ext cx="3270913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defRPr lang="ru-RU" sz="20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9">
            <a:extLst>
              <a:ext uri="{FF2B5EF4-FFF2-40B4-BE49-F238E27FC236}">
                <a16:creationId xmlns:a16="http://schemas.microsoft.com/office/drawing/2014/main" id="{E8BF63FD-5761-45C8-BB6F-22BE90CDCF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9454" y="4473090"/>
            <a:ext cx="327091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defRPr lang="ru-RU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7A4E236-EB9B-46DB-AE76-F2A9D261819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886076" y="1376772"/>
            <a:ext cx="2290909" cy="229090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Текст 9">
            <a:extLst>
              <a:ext uri="{FF2B5EF4-FFF2-40B4-BE49-F238E27FC236}">
                <a16:creationId xmlns:a16="http://schemas.microsoft.com/office/drawing/2014/main" id="{50B5B6DA-087F-4AE0-9F82-FCC8D8DC1C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96074" y="3978956"/>
            <a:ext cx="3270913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defRPr lang="ru-RU" sz="20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7" name="Текст 9">
            <a:extLst>
              <a:ext uri="{FF2B5EF4-FFF2-40B4-BE49-F238E27FC236}">
                <a16:creationId xmlns:a16="http://schemas.microsoft.com/office/drawing/2014/main" id="{D156F251-0F9E-4FB1-BA58-522832EED2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96074" y="4473090"/>
            <a:ext cx="327091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ctr" defTabSz="914400" rtl="0" eaLnBrk="1" latinLnBrk="0" hangingPunct="1">
              <a:defRPr lang="ru-RU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064251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спике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8EBD5697-4D29-4623-A8FE-B82A38C5C57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51005" y="1370264"/>
            <a:ext cx="1878716" cy="187871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Основной слайд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CBDEB62D-165D-420C-817C-FE9DEC859B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95600" y="1362258"/>
            <a:ext cx="324036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1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Текст 9">
            <a:extLst>
              <a:ext uri="{FF2B5EF4-FFF2-40B4-BE49-F238E27FC236}">
                <a16:creationId xmlns:a16="http://schemas.microsoft.com/office/drawing/2014/main" id="{2437B990-6971-4E32-AE94-ACF24F5605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95600" y="1808820"/>
            <a:ext cx="3240360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7" name="Рисунок 4">
            <a:extLst>
              <a:ext uri="{FF2B5EF4-FFF2-40B4-BE49-F238E27FC236}">
                <a16:creationId xmlns:a16="http://schemas.microsoft.com/office/drawing/2014/main" id="{4A92D2D5-A1B4-4986-A0E8-F171395C79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51291" y="1370264"/>
            <a:ext cx="1878716" cy="187871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id="{6CECBEC9-28BA-423F-ABEE-EDA24C3386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95886" y="1362258"/>
            <a:ext cx="324036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1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:a16="http://schemas.microsoft.com/office/drawing/2014/main" id="{6B8F22F7-235C-4DB7-A371-A8038549A1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95886" y="1808820"/>
            <a:ext cx="3240360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2" name="Рисунок 4">
            <a:extLst>
              <a:ext uri="{FF2B5EF4-FFF2-40B4-BE49-F238E27FC236}">
                <a16:creationId xmlns:a16="http://schemas.microsoft.com/office/drawing/2014/main" id="{10F5C82F-6E3D-4816-8982-BE7E6B4E1B9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1005" y="3848917"/>
            <a:ext cx="1878716" cy="187871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Текст 9">
            <a:extLst>
              <a:ext uri="{FF2B5EF4-FFF2-40B4-BE49-F238E27FC236}">
                <a16:creationId xmlns:a16="http://schemas.microsoft.com/office/drawing/2014/main" id="{BB711359-04BD-4D65-A31E-30D6C91FCC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95600" y="3840911"/>
            <a:ext cx="324036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1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Текст 9">
            <a:extLst>
              <a:ext uri="{FF2B5EF4-FFF2-40B4-BE49-F238E27FC236}">
                <a16:creationId xmlns:a16="http://schemas.microsoft.com/office/drawing/2014/main" id="{5EE486DD-3170-48C5-B456-F182B7047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95600" y="4287473"/>
            <a:ext cx="3240360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40D8E82A-068F-4049-94E7-DDC14453B3E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51291" y="3848917"/>
            <a:ext cx="1878716" cy="187871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Текст 9">
            <a:extLst>
              <a:ext uri="{FF2B5EF4-FFF2-40B4-BE49-F238E27FC236}">
                <a16:creationId xmlns:a16="http://schemas.microsoft.com/office/drawing/2014/main" id="{2933762B-AB9F-40B7-8492-63CF2E53C56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95886" y="3840911"/>
            <a:ext cx="324036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1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7" name="Текст 9">
            <a:extLst>
              <a:ext uri="{FF2B5EF4-FFF2-40B4-BE49-F238E27FC236}">
                <a16:creationId xmlns:a16="http://schemas.microsoft.com/office/drawing/2014/main" id="{B75F6C6B-397D-48DD-B702-6824AA3425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95886" y="4287473"/>
            <a:ext cx="3240360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algn="l" defTabSz="914400" rtl="0" eaLnBrk="1" latinLnBrk="0" hangingPunct="1"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7698086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Основной слайд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B66FC0-F803-4D97-8D17-FD87A1ED29A7}"/>
              </a:ext>
            </a:extLst>
          </p:cNvPr>
          <p:cNvSpPr txBox="1"/>
          <p:nvPr userDrawn="1"/>
        </p:nvSpPr>
        <p:spPr>
          <a:xfrm>
            <a:off x="357702" y="1361280"/>
            <a:ext cx="5593836" cy="40011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Колонка 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2E1E57-5C36-45E2-B456-0DC9D969461C}"/>
              </a:ext>
            </a:extLst>
          </p:cNvPr>
          <p:cNvSpPr txBox="1"/>
          <p:nvPr userDrawn="1"/>
        </p:nvSpPr>
        <p:spPr>
          <a:xfrm>
            <a:off x="6263202" y="1361280"/>
            <a:ext cx="5593836" cy="40011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Колонка 2</a:t>
            </a: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B3E72BF2-D61D-4B86-A0EC-AD9EC5F2565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4963" y="3789040"/>
            <a:ext cx="5616575" cy="259271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8" name="Рисунок 6">
            <a:extLst>
              <a:ext uri="{FF2B5EF4-FFF2-40B4-BE49-F238E27FC236}">
                <a16:creationId xmlns:a16="http://schemas.microsoft.com/office/drawing/2014/main" id="{FD72B661-6386-43E0-83E1-EECF65CA401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68796" y="3789040"/>
            <a:ext cx="5616575" cy="259271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43360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Основной слайд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B3E72BF2-D61D-4B86-A0EC-AD9EC5F2565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4963" y="4076700"/>
            <a:ext cx="3743209" cy="2305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8C1209-23F7-4D5E-A283-13AB18A43639}"/>
              </a:ext>
            </a:extLst>
          </p:cNvPr>
          <p:cNvSpPr txBox="1"/>
          <p:nvPr userDrawn="1"/>
        </p:nvSpPr>
        <p:spPr>
          <a:xfrm>
            <a:off x="357702" y="1361280"/>
            <a:ext cx="3720470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Колонка 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E5A0D-8B35-40F7-99E6-CF87257B0594}"/>
              </a:ext>
            </a:extLst>
          </p:cNvPr>
          <p:cNvSpPr txBox="1"/>
          <p:nvPr userDrawn="1"/>
        </p:nvSpPr>
        <p:spPr>
          <a:xfrm>
            <a:off x="4225234" y="1361280"/>
            <a:ext cx="3743274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Колонка 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A91CE2-B542-4720-8094-0B6081A43874}"/>
              </a:ext>
            </a:extLst>
          </p:cNvPr>
          <p:cNvSpPr txBox="1"/>
          <p:nvPr userDrawn="1"/>
        </p:nvSpPr>
        <p:spPr>
          <a:xfrm>
            <a:off x="8123471" y="1361280"/>
            <a:ext cx="3743274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Колонка 3</a:t>
            </a:r>
          </a:p>
        </p:txBody>
      </p:sp>
      <p:sp>
        <p:nvSpPr>
          <p:cNvPr id="12" name="Рисунок 6">
            <a:extLst>
              <a:ext uri="{FF2B5EF4-FFF2-40B4-BE49-F238E27FC236}">
                <a16:creationId xmlns:a16="http://schemas.microsoft.com/office/drawing/2014/main" id="{02E6B262-49C6-434B-B424-26FED2BB4F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25299" y="4076700"/>
            <a:ext cx="3743209" cy="2305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6">
            <a:extLst>
              <a:ext uri="{FF2B5EF4-FFF2-40B4-BE49-F238E27FC236}">
                <a16:creationId xmlns:a16="http://schemas.microsoft.com/office/drawing/2014/main" id="{60A055F2-4EE2-4DFE-B95D-76F97BCA15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13829" y="4076700"/>
            <a:ext cx="3743209" cy="2305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760794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ная картинк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новый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6558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35360" y="2708274"/>
            <a:ext cx="6408340" cy="1368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2" name="Текст 32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076700"/>
            <a:ext cx="6408737" cy="1368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z="1800" dirty="0"/>
              <a:t>Пара слов о том, чему посвящен этот раздел презентации</a:t>
            </a:r>
            <a:endParaRPr lang="ru-RU" dirty="0"/>
          </a:p>
        </p:txBody>
      </p:sp>
      <p:grpSp>
        <p:nvGrpSpPr>
          <p:cNvPr id="32" name="Группа 31"/>
          <p:cNvGrpSpPr/>
          <p:nvPr userDrawn="1"/>
        </p:nvGrpSpPr>
        <p:grpSpPr>
          <a:xfrm>
            <a:off x="546439" y="332656"/>
            <a:ext cx="581009" cy="331599"/>
            <a:chOff x="2290652" y="399744"/>
            <a:chExt cx="581009" cy="331599"/>
          </a:xfrm>
        </p:grpSpPr>
        <p:sp>
          <p:nvSpPr>
            <p:cNvPr id="33" name="object 4"/>
            <p:cNvSpPr/>
            <p:nvPr userDrawn="1"/>
          </p:nvSpPr>
          <p:spPr>
            <a:xfrm>
              <a:off x="254006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4" name="object 5"/>
            <p:cNvSpPr/>
            <p:nvPr userDrawn="1"/>
          </p:nvSpPr>
          <p:spPr>
            <a:xfrm>
              <a:off x="2540063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5" name="object 6"/>
            <p:cNvSpPr/>
            <p:nvPr userDrawn="1"/>
          </p:nvSpPr>
          <p:spPr>
            <a:xfrm>
              <a:off x="2705861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6" name="object 7"/>
            <p:cNvSpPr/>
            <p:nvPr userDrawn="1"/>
          </p:nvSpPr>
          <p:spPr>
            <a:xfrm>
              <a:off x="2705863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7" name="object 8"/>
            <p:cNvSpPr/>
            <p:nvPr userDrawn="1"/>
          </p:nvSpPr>
          <p:spPr>
            <a:xfrm>
              <a:off x="229065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142354"/>
                  </a:lnTo>
                  <a:lnTo>
                    <a:pt x="156083" y="142354"/>
                  </a:lnTo>
                  <a:lnTo>
                    <a:pt x="23444" y="9715"/>
                  </a:lnTo>
                  <a:lnTo>
                    <a:pt x="165798" y="9715"/>
                  </a:lnTo>
                  <a:lnTo>
                    <a:pt x="165798" y="0"/>
                  </a:lnTo>
                  <a:close/>
                </a:path>
                <a:path w="165798" h="165798">
                  <a:moveTo>
                    <a:pt x="165798" y="9715"/>
                  </a:moveTo>
                  <a:lnTo>
                    <a:pt x="156083" y="9715"/>
                  </a:lnTo>
                  <a:lnTo>
                    <a:pt x="156083" y="142354"/>
                  </a:lnTo>
                  <a:lnTo>
                    <a:pt x="165798" y="142354"/>
                  </a:lnTo>
                  <a:lnTo>
                    <a:pt x="165798" y="9715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8" name="object 9"/>
            <p:cNvSpPr/>
            <p:nvPr userDrawn="1"/>
          </p:nvSpPr>
          <p:spPr>
            <a:xfrm>
              <a:off x="2290652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9" name="object 10"/>
            <p:cNvSpPr/>
            <p:nvPr userDrawn="1"/>
          </p:nvSpPr>
          <p:spPr>
            <a:xfrm>
              <a:off x="2456450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0" name="object 11"/>
            <p:cNvSpPr/>
            <p:nvPr userDrawn="1"/>
          </p:nvSpPr>
          <p:spPr>
            <a:xfrm>
              <a:off x="2456451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7120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рядные контакты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pp.vk.me/c623318/v623318387/110c4/y-kSMXeS-jA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742" b="10824"/>
          <a:stretch/>
        </p:blipFill>
        <p:spPr bwMode="auto">
          <a:xfrm>
            <a:off x="0" y="-2134"/>
            <a:ext cx="12192000" cy="6860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 userDrawn="1"/>
        </p:nvSpPr>
        <p:spPr>
          <a:xfrm>
            <a:off x="342975" y="2709862"/>
            <a:ext cx="6400725" cy="27352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3" hasCustomPrompt="1"/>
          </p:nvPr>
        </p:nvSpPr>
        <p:spPr>
          <a:xfrm>
            <a:off x="551384" y="2988147"/>
            <a:ext cx="2095633" cy="2097309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Фотка</a:t>
            </a:r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711624" y="3212976"/>
            <a:ext cx="4032076" cy="3380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Имя и фамилия</a:t>
            </a:r>
          </a:p>
        </p:txBody>
      </p:sp>
      <p:sp>
        <p:nvSpPr>
          <p:cNvPr id="14" name="Текст 10"/>
          <p:cNvSpPr>
            <a:spLocks noGrp="1"/>
          </p:cNvSpPr>
          <p:nvPr>
            <p:ph type="body" sz="quarter" idx="15" hasCustomPrompt="1"/>
          </p:nvPr>
        </p:nvSpPr>
        <p:spPr>
          <a:xfrm>
            <a:off x="2711624" y="3572122"/>
            <a:ext cx="4032551" cy="2889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7" name="Текст 10"/>
          <p:cNvSpPr>
            <a:spLocks noGrp="1"/>
          </p:cNvSpPr>
          <p:nvPr>
            <p:ph type="body" sz="quarter" idx="16" hasCustomPrompt="1"/>
          </p:nvPr>
        </p:nvSpPr>
        <p:spPr>
          <a:xfrm>
            <a:off x="2976234" y="4021621"/>
            <a:ext cx="3516779" cy="266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электронная.почта</a:t>
            </a:r>
            <a:r>
              <a:rPr lang="en-US" dirty="0"/>
              <a:t>@changellenge.com</a:t>
            </a:r>
            <a:endParaRPr lang="ru-RU" dirty="0"/>
          </a:p>
        </p:txBody>
      </p:sp>
      <p:sp>
        <p:nvSpPr>
          <p:cNvPr id="18" name="Текст 10"/>
          <p:cNvSpPr>
            <a:spLocks noGrp="1"/>
          </p:cNvSpPr>
          <p:nvPr>
            <p:ph type="body" sz="quarter" idx="17" hasCustomPrompt="1"/>
          </p:nvPr>
        </p:nvSpPr>
        <p:spPr>
          <a:xfrm>
            <a:off x="2976234" y="4355034"/>
            <a:ext cx="3516779" cy="2260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+7 (999) 123-45-67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9616" y="4345082"/>
            <a:ext cx="360000" cy="232948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2346" y="4000914"/>
            <a:ext cx="254540" cy="287253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2976234" y="4623519"/>
            <a:ext cx="35167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hangingPunct="1">
              <a:defRPr/>
            </a:pPr>
            <a:r>
              <a:rPr lang="ru-RU" sz="1200" b="0" dirty="0">
                <a:latin typeface="+mn-lt"/>
                <a:ea typeface="MS PGothic" panose="020B0600070205080204" pitchFamily="34" charset="-128"/>
              </a:rPr>
              <a:t>Национальная</a:t>
            </a:r>
            <a:r>
              <a:rPr lang="ru-RU" sz="1200" b="0" baseline="0" dirty="0">
                <a:latin typeface="+mn-lt"/>
                <a:ea typeface="MS PGothic" panose="020B0600070205080204" pitchFamily="34" charset="-128"/>
              </a:rPr>
              <a:t> лига кейсов</a:t>
            </a:r>
            <a:r>
              <a:rPr lang="ru-RU" sz="1200" b="0" dirty="0">
                <a:latin typeface="+mn-lt"/>
                <a:ea typeface="MS PGothic" panose="020B0600070205080204" pitchFamily="34" charset="-128"/>
              </a:rPr>
              <a:t> </a:t>
            </a:r>
            <a:r>
              <a:rPr lang="en-US" sz="1200" b="0" dirty="0">
                <a:latin typeface="+mn-lt"/>
                <a:ea typeface="MS PGothic" panose="020B0600070205080204" pitchFamily="34" charset="-128"/>
              </a:rPr>
              <a:t>Changellenge &gt;&gt;</a:t>
            </a:r>
            <a:endParaRPr lang="ru-RU" sz="1200" b="0" dirty="0">
              <a:latin typeface="+mn-lt"/>
              <a:ea typeface="MS PGothic" panose="020B0600070205080204" pitchFamily="34" charset="-128"/>
            </a:endParaRPr>
          </a:p>
          <a:p>
            <a:pPr eaLnBrk="1" hangingPunct="1">
              <a:defRPr/>
            </a:pPr>
            <a:r>
              <a:rPr lang="en-US" sz="1200" b="0" dirty="0">
                <a:solidFill>
                  <a:schemeClr val="accent1"/>
                </a:solidFill>
                <a:latin typeface="+mn-lt"/>
                <a:ea typeface="MS PGothic" panose="020B0600070205080204" pitchFamily="34" charset="-128"/>
                <a:hlinkClick r:id="rId5"/>
              </a:rPr>
              <a:t>www.changellenge.com</a:t>
            </a:r>
            <a:endParaRPr lang="ru-RU" sz="1200" b="0" dirty="0">
              <a:solidFill>
                <a:schemeClr val="accent1"/>
              </a:solidFill>
              <a:latin typeface="+mn-lt"/>
              <a:ea typeface="MS PGothic" panose="020B0600070205080204" pitchFamily="34" charset="-128"/>
            </a:endParaRPr>
          </a:p>
        </p:txBody>
      </p:sp>
      <p:grpSp>
        <p:nvGrpSpPr>
          <p:cNvPr id="41" name="Группа 40"/>
          <p:cNvGrpSpPr/>
          <p:nvPr userDrawn="1"/>
        </p:nvGrpSpPr>
        <p:grpSpPr>
          <a:xfrm>
            <a:off x="5367533" y="2895601"/>
            <a:ext cx="1151550" cy="657224"/>
            <a:chOff x="2290652" y="399744"/>
            <a:chExt cx="581009" cy="331599"/>
          </a:xfrm>
        </p:grpSpPr>
        <p:sp>
          <p:nvSpPr>
            <p:cNvPr id="42" name="object 4"/>
            <p:cNvSpPr/>
            <p:nvPr userDrawn="1"/>
          </p:nvSpPr>
          <p:spPr>
            <a:xfrm>
              <a:off x="254006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3" name="object 5"/>
            <p:cNvSpPr/>
            <p:nvPr userDrawn="1"/>
          </p:nvSpPr>
          <p:spPr>
            <a:xfrm>
              <a:off x="2540063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4" name="object 6"/>
            <p:cNvSpPr/>
            <p:nvPr userDrawn="1"/>
          </p:nvSpPr>
          <p:spPr>
            <a:xfrm>
              <a:off x="2705861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5" name="object 7"/>
            <p:cNvSpPr/>
            <p:nvPr userDrawn="1"/>
          </p:nvSpPr>
          <p:spPr>
            <a:xfrm>
              <a:off x="2705863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6" name="object 8"/>
            <p:cNvSpPr/>
            <p:nvPr userDrawn="1"/>
          </p:nvSpPr>
          <p:spPr>
            <a:xfrm>
              <a:off x="229065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142354"/>
                  </a:lnTo>
                  <a:lnTo>
                    <a:pt x="156083" y="142354"/>
                  </a:lnTo>
                  <a:lnTo>
                    <a:pt x="23444" y="9715"/>
                  </a:lnTo>
                  <a:lnTo>
                    <a:pt x="165798" y="9715"/>
                  </a:lnTo>
                  <a:lnTo>
                    <a:pt x="165798" y="0"/>
                  </a:lnTo>
                  <a:close/>
                </a:path>
                <a:path w="165798" h="165798">
                  <a:moveTo>
                    <a:pt x="165798" y="9715"/>
                  </a:moveTo>
                  <a:lnTo>
                    <a:pt x="156083" y="9715"/>
                  </a:lnTo>
                  <a:lnTo>
                    <a:pt x="156083" y="142354"/>
                  </a:lnTo>
                  <a:lnTo>
                    <a:pt x="165798" y="142354"/>
                  </a:lnTo>
                  <a:lnTo>
                    <a:pt x="165798" y="9715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7" name="object 9"/>
            <p:cNvSpPr/>
            <p:nvPr userDrawn="1"/>
          </p:nvSpPr>
          <p:spPr>
            <a:xfrm>
              <a:off x="2290652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8" name="object 10"/>
            <p:cNvSpPr/>
            <p:nvPr userDrawn="1"/>
          </p:nvSpPr>
          <p:spPr>
            <a:xfrm>
              <a:off x="2456450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49" name="object 11"/>
            <p:cNvSpPr/>
            <p:nvPr userDrawn="1"/>
          </p:nvSpPr>
          <p:spPr>
            <a:xfrm>
              <a:off x="2456451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7" name="Номер слайда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3396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Фору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s://pp.vk.me/c625625/v625625542/28411/QipzgFFBVVQ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38" y="0"/>
            <a:ext cx="12192000" cy="3359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 userDrawn="1"/>
        </p:nvSpPr>
        <p:spPr>
          <a:xfrm>
            <a:off x="0" y="3240264"/>
            <a:ext cx="12192000" cy="361773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5359" y="4509120"/>
            <a:ext cx="6408341" cy="1083251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ороткий заголовок презентации в две строки максимум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8925373" y="1341437"/>
            <a:ext cx="3261246" cy="5489177"/>
            <a:chOff x="6164080" y="57"/>
            <a:chExt cx="4520655" cy="7537442"/>
          </a:xfrm>
        </p:grpSpPr>
        <p:sp>
          <p:nvSpPr>
            <p:cNvPr id="7" name="object 12"/>
            <p:cNvSpPr/>
            <p:nvPr userDrawn="1"/>
          </p:nvSpPr>
          <p:spPr>
            <a:xfrm>
              <a:off x="9177854" y="301351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8" name="object 13"/>
            <p:cNvSpPr/>
            <p:nvPr userDrawn="1"/>
          </p:nvSpPr>
          <p:spPr>
            <a:xfrm>
              <a:off x="9177855" y="6030618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9" name="object 14"/>
            <p:cNvSpPr/>
            <p:nvPr userDrawn="1"/>
          </p:nvSpPr>
          <p:spPr>
            <a:xfrm>
              <a:off x="9177855" y="4520401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1435354"/>
                  </a:lnTo>
                  <a:lnTo>
                    <a:pt x="1477251" y="1435354"/>
                  </a:lnTo>
                  <a:lnTo>
                    <a:pt x="71526" y="29629"/>
                  </a:lnTo>
                  <a:lnTo>
                    <a:pt x="1506880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506880" y="29629"/>
                  </a:moveTo>
                  <a:lnTo>
                    <a:pt x="1477251" y="29629"/>
                  </a:lnTo>
                  <a:lnTo>
                    <a:pt x="1477251" y="1435354"/>
                  </a:lnTo>
                  <a:lnTo>
                    <a:pt x="1506880" y="1435354"/>
                  </a:lnTo>
                  <a:lnTo>
                    <a:pt x="1506880" y="29629"/>
                  </a:lnTo>
                  <a:close/>
                </a:path>
              </a:pathLst>
            </a:custGeom>
            <a:solidFill>
              <a:srgbClr val="D6DCDC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0" name="object 15"/>
            <p:cNvSpPr/>
            <p:nvPr userDrawn="1"/>
          </p:nvSpPr>
          <p:spPr>
            <a:xfrm>
              <a:off x="6164080" y="150662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1" name="object 16"/>
            <p:cNvSpPr/>
            <p:nvPr userDrawn="1"/>
          </p:nvSpPr>
          <p:spPr>
            <a:xfrm>
              <a:off x="7670971" y="150667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2" name="object 17"/>
            <p:cNvSpPr/>
            <p:nvPr userDrawn="1"/>
          </p:nvSpPr>
          <p:spPr>
            <a:xfrm>
              <a:off x="9177855" y="57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3" name="object 18"/>
            <p:cNvSpPr/>
            <p:nvPr userDrawn="1"/>
          </p:nvSpPr>
          <p:spPr>
            <a:xfrm>
              <a:off x="7670966" y="150694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4" name="object 19"/>
            <p:cNvSpPr/>
            <p:nvPr userDrawn="1"/>
          </p:nvSpPr>
          <p:spPr>
            <a:xfrm>
              <a:off x="7670971" y="57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1435354"/>
                  </a:lnTo>
                  <a:lnTo>
                    <a:pt x="1477251" y="1435354"/>
                  </a:lnTo>
                  <a:lnTo>
                    <a:pt x="71526" y="29629"/>
                  </a:lnTo>
                  <a:lnTo>
                    <a:pt x="1506880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506880" y="29629"/>
                  </a:moveTo>
                  <a:lnTo>
                    <a:pt x="1477251" y="29629"/>
                  </a:lnTo>
                  <a:lnTo>
                    <a:pt x="1477251" y="1435354"/>
                  </a:lnTo>
                  <a:lnTo>
                    <a:pt x="1506880" y="1435354"/>
                  </a:lnTo>
                  <a:lnTo>
                    <a:pt x="1506880" y="29629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5" name="object 20"/>
            <p:cNvSpPr/>
            <p:nvPr userDrawn="1"/>
          </p:nvSpPr>
          <p:spPr>
            <a:xfrm>
              <a:off x="7670971" y="301351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6" name="object 21"/>
            <p:cNvSpPr/>
            <p:nvPr userDrawn="1"/>
          </p:nvSpPr>
          <p:spPr>
            <a:xfrm>
              <a:off x="6164082" y="4520402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D6DCDC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7" name="object 22"/>
            <p:cNvSpPr/>
            <p:nvPr userDrawn="1"/>
          </p:nvSpPr>
          <p:spPr>
            <a:xfrm>
              <a:off x="7670971" y="452040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E212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8" name="object 23"/>
            <p:cNvSpPr/>
            <p:nvPr userDrawn="1"/>
          </p:nvSpPr>
          <p:spPr>
            <a:xfrm>
              <a:off x="6164080" y="3013521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9" name="object 24"/>
            <p:cNvSpPr/>
            <p:nvPr userDrawn="1"/>
          </p:nvSpPr>
          <p:spPr>
            <a:xfrm>
              <a:off x="9177855" y="150694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0" name="object 25"/>
            <p:cNvSpPr/>
            <p:nvPr userDrawn="1"/>
          </p:nvSpPr>
          <p:spPr>
            <a:xfrm>
              <a:off x="7670971" y="301351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1" name="object 26"/>
            <p:cNvSpPr/>
            <p:nvPr userDrawn="1"/>
          </p:nvSpPr>
          <p:spPr>
            <a:xfrm>
              <a:off x="7670971" y="603061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71526" y="1435353"/>
                  </a:lnTo>
                  <a:lnTo>
                    <a:pt x="29629" y="1435353"/>
                  </a:lnTo>
                  <a:lnTo>
                    <a:pt x="29629" y="29629"/>
                  </a:lnTo>
                  <a:lnTo>
                    <a:pt x="1477251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477251" y="29629"/>
                  </a:moveTo>
                  <a:lnTo>
                    <a:pt x="1435354" y="29629"/>
                  </a:lnTo>
                  <a:lnTo>
                    <a:pt x="29629" y="1435353"/>
                  </a:lnTo>
                  <a:lnTo>
                    <a:pt x="71526" y="1435353"/>
                  </a:lnTo>
                  <a:lnTo>
                    <a:pt x="1477251" y="29629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22" name="object 3"/>
          <p:cNvSpPr/>
          <p:nvPr userDrawn="1"/>
        </p:nvSpPr>
        <p:spPr>
          <a:xfrm>
            <a:off x="496255" y="3738015"/>
            <a:ext cx="1722555" cy="287547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2290652" y="3708109"/>
            <a:ext cx="581009" cy="331599"/>
            <a:chOff x="2290652" y="399744"/>
            <a:chExt cx="581009" cy="331599"/>
          </a:xfrm>
        </p:grpSpPr>
        <p:sp>
          <p:nvSpPr>
            <p:cNvPr id="24" name="object 4"/>
            <p:cNvSpPr/>
            <p:nvPr userDrawn="1"/>
          </p:nvSpPr>
          <p:spPr>
            <a:xfrm>
              <a:off x="254006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5" name="object 5"/>
            <p:cNvSpPr/>
            <p:nvPr userDrawn="1"/>
          </p:nvSpPr>
          <p:spPr>
            <a:xfrm>
              <a:off x="2540063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6" name="object 6"/>
            <p:cNvSpPr/>
            <p:nvPr userDrawn="1"/>
          </p:nvSpPr>
          <p:spPr>
            <a:xfrm>
              <a:off x="2705861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7" name="object 7"/>
            <p:cNvSpPr/>
            <p:nvPr userDrawn="1"/>
          </p:nvSpPr>
          <p:spPr>
            <a:xfrm>
              <a:off x="2705863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8" name="object 8"/>
            <p:cNvSpPr/>
            <p:nvPr userDrawn="1"/>
          </p:nvSpPr>
          <p:spPr>
            <a:xfrm>
              <a:off x="229065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142354"/>
                  </a:lnTo>
                  <a:lnTo>
                    <a:pt x="156083" y="142354"/>
                  </a:lnTo>
                  <a:lnTo>
                    <a:pt x="23444" y="9715"/>
                  </a:lnTo>
                  <a:lnTo>
                    <a:pt x="165798" y="9715"/>
                  </a:lnTo>
                  <a:lnTo>
                    <a:pt x="165798" y="0"/>
                  </a:lnTo>
                  <a:close/>
                </a:path>
                <a:path w="165798" h="165798">
                  <a:moveTo>
                    <a:pt x="165798" y="9715"/>
                  </a:moveTo>
                  <a:lnTo>
                    <a:pt x="156083" y="9715"/>
                  </a:lnTo>
                  <a:lnTo>
                    <a:pt x="156083" y="142354"/>
                  </a:lnTo>
                  <a:lnTo>
                    <a:pt x="165798" y="142354"/>
                  </a:lnTo>
                  <a:lnTo>
                    <a:pt x="165798" y="9715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9" name="object 9"/>
            <p:cNvSpPr/>
            <p:nvPr userDrawn="1"/>
          </p:nvSpPr>
          <p:spPr>
            <a:xfrm>
              <a:off x="2290652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0" name="object 10"/>
            <p:cNvSpPr/>
            <p:nvPr userDrawn="1"/>
          </p:nvSpPr>
          <p:spPr>
            <a:xfrm>
              <a:off x="2456450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1" name="object 11"/>
            <p:cNvSpPr/>
            <p:nvPr userDrawn="1"/>
          </p:nvSpPr>
          <p:spPr>
            <a:xfrm>
              <a:off x="2456451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33" name="Текст 32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5730790"/>
            <a:ext cx="6408737" cy="6509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z="1800" dirty="0"/>
              <a:t>Краткий уточняющий подзаголовок презентации, уточняющий ее содержание</a:t>
            </a:r>
            <a:endParaRPr lang="ru-RU" dirty="0"/>
          </a:p>
        </p:txBody>
      </p:sp>
      <p:sp>
        <p:nvSpPr>
          <p:cNvPr id="4" name="Равнобедренный треугольник 3"/>
          <p:cNvSpPr/>
          <p:nvPr userDrawn="1"/>
        </p:nvSpPr>
        <p:spPr>
          <a:xfrm rot="5400000">
            <a:off x="11649311" y="3"/>
            <a:ext cx="540000" cy="540000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2981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 userDrawn="1">
          <p15:clr>
            <a:srgbClr val="FBAE40"/>
          </p15:clr>
        </p15:guide>
        <p15:guide id="2" orient="horz" pos="361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ое де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4076700"/>
            <a:ext cx="12192000" cy="2781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39987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и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2708275"/>
            <a:ext cx="12192000" cy="4149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30" hasCustomPrompt="1"/>
          </p:nvPr>
        </p:nvSpPr>
        <p:spPr>
          <a:xfrm>
            <a:off x="335360" y="1927932"/>
            <a:ext cx="2304653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X</a:t>
            </a:r>
            <a:endParaRPr lang="ru-RU" dirty="0"/>
          </a:p>
        </p:txBody>
      </p:sp>
      <p:sp>
        <p:nvSpPr>
          <p:cNvPr id="13" name="Текст 9"/>
          <p:cNvSpPr>
            <a:spLocks noGrp="1"/>
          </p:cNvSpPr>
          <p:nvPr>
            <p:ph type="body" sz="quarter" idx="31" hasCustomPrompt="1"/>
          </p:nvPr>
        </p:nvSpPr>
        <p:spPr>
          <a:xfrm>
            <a:off x="3254018" y="1927932"/>
            <a:ext cx="2304653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X</a:t>
            </a:r>
            <a:endParaRPr lang="ru-RU" dirty="0"/>
          </a:p>
        </p:txBody>
      </p:sp>
      <p:sp>
        <p:nvSpPr>
          <p:cNvPr id="16" name="Текст 9"/>
          <p:cNvSpPr>
            <a:spLocks noGrp="1"/>
          </p:cNvSpPr>
          <p:nvPr>
            <p:ph type="body" sz="quarter" idx="32" hasCustomPrompt="1"/>
          </p:nvPr>
        </p:nvSpPr>
        <p:spPr>
          <a:xfrm>
            <a:off x="6172676" y="1927932"/>
            <a:ext cx="2304653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X</a:t>
            </a:r>
            <a:endParaRPr lang="ru-RU" dirty="0"/>
          </a:p>
        </p:txBody>
      </p:sp>
      <p:sp>
        <p:nvSpPr>
          <p:cNvPr id="17" name="Текст 9"/>
          <p:cNvSpPr>
            <a:spLocks noGrp="1"/>
          </p:cNvSpPr>
          <p:nvPr>
            <p:ph type="body" sz="quarter" idx="33" hasCustomPrompt="1"/>
          </p:nvPr>
        </p:nvSpPr>
        <p:spPr>
          <a:xfrm>
            <a:off x="9091333" y="1927932"/>
            <a:ext cx="2376488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X</a:t>
            </a:r>
            <a:endParaRPr lang="ru-RU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34" hasCustomPrompt="1"/>
          </p:nvPr>
        </p:nvSpPr>
        <p:spPr>
          <a:xfrm>
            <a:off x="334962" y="3068638"/>
            <a:ext cx="2765307" cy="23764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ru-RU" dirty="0"/>
              <a:t>Мелким текстов описание цифры</a:t>
            </a:r>
          </a:p>
        </p:txBody>
      </p:sp>
      <p:sp>
        <p:nvSpPr>
          <p:cNvPr id="22" name="Текст 18"/>
          <p:cNvSpPr>
            <a:spLocks noGrp="1"/>
          </p:cNvSpPr>
          <p:nvPr>
            <p:ph type="body" sz="quarter" idx="35" hasCustomPrompt="1"/>
          </p:nvPr>
        </p:nvSpPr>
        <p:spPr>
          <a:xfrm>
            <a:off x="3254018" y="3068638"/>
            <a:ext cx="2765307" cy="23764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ru-RU" dirty="0"/>
              <a:t>Мелким текстов описание цифры</a:t>
            </a:r>
          </a:p>
        </p:txBody>
      </p:sp>
      <p:sp>
        <p:nvSpPr>
          <p:cNvPr id="23" name="Текст 18"/>
          <p:cNvSpPr>
            <a:spLocks noGrp="1"/>
          </p:cNvSpPr>
          <p:nvPr>
            <p:ph type="body" sz="quarter" idx="36" hasCustomPrompt="1"/>
          </p:nvPr>
        </p:nvSpPr>
        <p:spPr>
          <a:xfrm>
            <a:off x="6172676" y="3068638"/>
            <a:ext cx="2765307" cy="23764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ru-RU" dirty="0"/>
              <a:t>Мелким текстов описание цифры</a:t>
            </a:r>
          </a:p>
        </p:txBody>
      </p:sp>
      <p:sp>
        <p:nvSpPr>
          <p:cNvPr id="24" name="Текст 18"/>
          <p:cNvSpPr>
            <a:spLocks noGrp="1"/>
          </p:cNvSpPr>
          <p:nvPr>
            <p:ph type="body" sz="quarter" idx="37" hasCustomPrompt="1"/>
          </p:nvPr>
        </p:nvSpPr>
        <p:spPr>
          <a:xfrm>
            <a:off x="9091333" y="3068638"/>
            <a:ext cx="2765307" cy="23764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ru-RU" dirty="0"/>
              <a:t>Мелким текстов описание цифры</a:t>
            </a:r>
          </a:p>
        </p:txBody>
      </p:sp>
      <p:sp>
        <p:nvSpPr>
          <p:cNvPr id="25" name="Номер слайда 24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2600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лавная мыс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12124" y="0"/>
            <a:ext cx="407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35360" y="188914"/>
            <a:ext cx="7770443" cy="11525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Основной слайд с главной мыслью</a:t>
            </a:r>
          </a:p>
        </p:txBody>
      </p:sp>
      <p:sp>
        <p:nvSpPr>
          <p:cNvPr id="13" name="Пятиугольник 12"/>
          <p:cNvSpPr/>
          <p:nvPr/>
        </p:nvSpPr>
        <p:spPr>
          <a:xfrm>
            <a:off x="8105803" y="728382"/>
            <a:ext cx="864096" cy="612386"/>
          </a:xfrm>
          <a:prstGeom prst="homePlat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0" hasCustomPrompt="1"/>
          </p:nvPr>
        </p:nvSpPr>
        <p:spPr>
          <a:xfrm>
            <a:off x="8247115" y="1340767"/>
            <a:ext cx="3609923" cy="41043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chemeClr val="accent2"/>
                </a:solidFill>
              </a:defRPr>
            </a:lvl1pPr>
          </a:lstStyle>
          <a:p>
            <a:r>
              <a:rPr lang="ru-RU" sz="3200" dirty="0">
                <a:solidFill>
                  <a:schemeClr val="accent2"/>
                </a:solidFill>
              </a:rPr>
              <a:t>Тут главная мысль слайда к которой подводят аргументы в основной части слайд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1839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Главная мыс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12124" y="0"/>
            <a:ext cx="407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188914"/>
            <a:ext cx="7770443" cy="11525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3" name="Пятиугольник 12"/>
          <p:cNvSpPr/>
          <p:nvPr/>
        </p:nvSpPr>
        <p:spPr>
          <a:xfrm>
            <a:off x="8105803" y="728382"/>
            <a:ext cx="864096" cy="612386"/>
          </a:xfrm>
          <a:prstGeom prst="homePlat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0" hasCustomPrompt="1"/>
          </p:nvPr>
        </p:nvSpPr>
        <p:spPr>
          <a:xfrm>
            <a:off x="8247115" y="1340767"/>
            <a:ext cx="3609923" cy="41043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aseline="0">
                <a:solidFill>
                  <a:schemeClr val="accent2"/>
                </a:solidFill>
              </a:defRPr>
            </a:lvl1pPr>
          </a:lstStyle>
          <a:p>
            <a:r>
              <a:rPr lang="ru-RU" sz="3200" dirty="0">
                <a:solidFill>
                  <a:schemeClr val="accent2"/>
                </a:solidFill>
              </a:rPr>
              <a:t>Тут главная мысль слайда к которой подводят аргументы в основной части слайд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14" name="Текст 36"/>
          <p:cNvSpPr>
            <a:spLocks noGrp="1"/>
          </p:cNvSpPr>
          <p:nvPr>
            <p:ph type="body" sz="quarter" idx="39" hasCustomPrompt="1"/>
          </p:nvPr>
        </p:nvSpPr>
        <p:spPr>
          <a:xfrm>
            <a:off x="1271464" y="1341438"/>
            <a:ext cx="2209800" cy="1079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ru-RU" dirty="0"/>
              <a:t>Краткое описание шага</a:t>
            </a:r>
          </a:p>
        </p:txBody>
      </p:sp>
      <p:sp>
        <p:nvSpPr>
          <p:cNvPr id="15" name="Текст 36"/>
          <p:cNvSpPr>
            <a:spLocks noGrp="1"/>
          </p:cNvSpPr>
          <p:nvPr>
            <p:ph type="body" sz="quarter" idx="40" hasCustomPrompt="1"/>
          </p:nvPr>
        </p:nvSpPr>
        <p:spPr>
          <a:xfrm>
            <a:off x="5374555" y="1341438"/>
            <a:ext cx="2209800" cy="1079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ru-RU" dirty="0"/>
              <a:t>Краткое описание шага</a:t>
            </a:r>
          </a:p>
        </p:txBody>
      </p:sp>
      <p:sp>
        <p:nvSpPr>
          <p:cNvPr id="16" name="Текст 36"/>
          <p:cNvSpPr>
            <a:spLocks noGrp="1"/>
          </p:cNvSpPr>
          <p:nvPr>
            <p:ph type="body" sz="quarter" idx="41" hasCustomPrompt="1"/>
          </p:nvPr>
        </p:nvSpPr>
        <p:spPr>
          <a:xfrm>
            <a:off x="1271464" y="3213645"/>
            <a:ext cx="2209800" cy="1079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ru-RU" dirty="0"/>
              <a:t>Краткое описание шага</a:t>
            </a:r>
          </a:p>
        </p:txBody>
      </p:sp>
      <p:sp>
        <p:nvSpPr>
          <p:cNvPr id="17" name="Текст 36"/>
          <p:cNvSpPr>
            <a:spLocks noGrp="1"/>
          </p:cNvSpPr>
          <p:nvPr>
            <p:ph type="body" sz="quarter" idx="42" hasCustomPrompt="1"/>
          </p:nvPr>
        </p:nvSpPr>
        <p:spPr>
          <a:xfrm>
            <a:off x="5374555" y="3213645"/>
            <a:ext cx="2209800" cy="1079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ru-RU" dirty="0"/>
              <a:t>Краткое описание шага</a:t>
            </a:r>
          </a:p>
        </p:txBody>
      </p:sp>
      <p:sp>
        <p:nvSpPr>
          <p:cNvPr id="18" name="Текст 36"/>
          <p:cNvSpPr>
            <a:spLocks noGrp="1"/>
          </p:cNvSpPr>
          <p:nvPr>
            <p:ph type="body" sz="quarter" idx="43" hasCustomPrompt="1"/>
          </p:nvPr>
        </p:nvSpPr>
        <p:spPr>
          <a:xfrm>
            <a:off x="1271464" y="5085853"/>
            <a:ext cx="2209800" cy="1079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ru-RU" dirty="0"/>
              <a:t>Краткое описание шага</a:t>
            </a:r>
          </a:p>
        </p:txBody>
      </p:sp>
      <p:sp>
        <p:nvSpPr>
          <p:cNvPr id="19" name="Текст 36"/>
          <p:cNvSpPr>
            <a:spLocks noGrp="1"/>
          </p:cNvSpPr>
          <p:nvPr>
            <p:ph type="body" sz="quarter" idx="44" hasCustomPrompt="1"/>
          </p:nvPr>
        </p:nvSpPr>
        <p:spPr>
          <a:xfrm>
            <a:off x="5374555" y="5085853"/>
            <a:ext cx="2209800" cy="1079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ru-RU" dirty="0"/>
              <a:t>Краткое описание шага</a:t>
            </a:r>
          </a:p>
        </p:txBody>
      </p:sp>
      <p:sp>
        <p:nvSpPr>
          <p:cNvPr id="10" name="Объект 25"/>
          <p:cNvSpPr>
            <a:spLocks noGrp="1"/>
          </p:cNvSpPr>
          <p:nvPr>
            <p:ph sz="quarter" idx="36" hasCustomPrompt="1"/>
          </p:nvPr>
        </p:nvSpPr>
        <p:spPr>
          <a:xfrm>
            <a:off x="6684961" y="2322381"/>
            <a:ext cx="1359668" cy="3145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1" name="Объект 25"/>
          <p:cNvSpPr>
            <a:spLocks noGrp="1"/>
          </p:cNvSpPr>
          <p:nvPr>
            <p:ph sz="quarter" idx="37" hasCustomPrompt="1"/>
          </p:nvPr>
        </p:nvSpPr>
        <p:spPr>
          <a:xfrm>
            <a:off x="6684961" y="4194588"/>
            <a:ext cx="1359668" cy="3145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 lang="ru-RU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2" name="Объект 25"/>
          <p:cNvSpPr>
            <a:spLocks noGrp="1"/>
          </p:cNvSpPr>
          <p:nvPr>
            <p:ph sz="quarter" idx="38" hasCustomPrompt="1"/>
          </p:nvPr>
        </p:nvSpPr>
        <p:spPr>
          <a:xfrm>
            <a:off x="6684961" y="6066796"/>
            <a:ext cx="1359668" cy="3145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 lang="ru-RU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0" name="Объект 25"/>
          <p:cNvSpPr>
            <a:spLocks noGrp="1"/>
          </p:cNvSpPr>
          <p:nvPr>
            <p:ph sz="quarter" idx="45" hasCustomPrompt="1"/>
          </p:nvPr>
        </p:nvSpPr>
        <p:spPr>
          <a:xfrm>
            <a:off x="2331917" y="2322381"/>
            <a:ext cx="1359668" cy="3145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1" name="Объект 25"/>
          <p:cNvSpPr>
            <a:spLocks noGrp="1"/>
          </p:cNvSpPr>
          <p:nvPr>
            <p:ph sz="quarter" idx="46" hasCustomPrompt="1"/>
          </p:nvPr>
        </p:nvSpPr>
        <p:spPr>
          <a:xfrm>
            <a:off x="2331917" y="4194588"/>
            <a:ext cx="1359668" cy="3145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 lang="ru-RU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22" name="Объект 25"/>
          <p:cNvSpPr>
            <a:spLocks noGrp="1"/>
          </p:cNvSpPr>
          <p:nvPr>
            <p:ph sz="quarter" idx="47" hasCustomPrompt="1"/>
          </p:nvPr>
        </p:nvSpPr>
        <p:spPr>
          <a:xfrm>
            <a:off x="2331917" y="6066796"/>
            <a:ext cx="1359668" cy="3145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 lang="ru-RU" sz="1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35" name="Текст 36"/>
          <p:cNvSpPr>
            <a:spLocks noGrp="1"/>
          </p:cNvSpPr>
          <p:nvPr>
            <p:ph type="body" sz="quarter" idx="53" hasCustomPrompt="1"/>
          </p:nvPr>
        </p:nvSpPr>
        <p:spPr>
          <a:xfrm>
            <a:off x="4811654" y="1198414"/>
            <a:ext cx="564266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</a:t>
            </a:r>
            <a:endParaRPr lang="ru-RU" dirty="0"/>
          </a:p>
        </p:txBody>
      </p:sp>
      <p:sp>
        <p:nvSpPr>
          <p:cNvPr id="36" name="Текст 36"/>
          <p:cNvSpPr>
            <a:spLocks noGrp="1"/>
          </p:cNvSpPr>
          <p:nvPr>
            <p:ph type="body" sz="quarter" idx="54" hasCustomPrompt="1"/>
          </p:nvPr>
        </p:nvSpPr>
        <p:spPr>
          <a:xfrm>
            <a:off x="4811654" y="3069976"/>
            <a:ext cx="564266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</a:t>
            </a:r>
            <a:endParaRPr lang="ru-RU" dirty="0"/>
          </a:p>
        </p:txBody>
      </p:sp>
      <p:sp>
        <p:nvSpPr>
          <p:cNvPr id="37" name="Текст 36"/>
          <p:cNvSpPr>
            <a:spLocks noGrp="1"/>
          </p:cNvSpPr>
          <p:nvPr>
            <p:ph type="body" sz="quarter" idx="55" hasCustomPrompt="1"/>
          </p:nvPr>
        </p:nvSpPr>
        <p:spPr>
          <a:xfrm>
            <a:off x="4811654" y="4943127"/>
            <a:ext cx="564266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</a:t>
            </a:r>
            <a:endParaRPr lang="ru-RU" dirty="0"/>
          </a:p>
        </p:txBody>
      </p:sp>
      <p:sp>
        <p:nvSpPr>
          <p:cNvPr id="41" name="Текст 36"/>
          <p:cNvSpPr>
            <a:spLocks noGrp="1"/>
          </p:cNvSpPr>
          <p:nvPr>
            <p:ph type="body" sz="quarter" idx="56" hasCustomPrompt="1"/>
          </p:nvPr>
        </p:nvSpPr>
        <p:spPr>
          <a:xfrm>
            <a:off x="695400" y="1198414"/>
            <a:ext cx="564266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</a:t>
            </a:r>
            <a:endParaRPr lang="ru-RU" dirty="0"/>
          </a:p>
        </p:txBody>
      </p:sp>
      <p:sp>
        <p:nvSpPr>
          <p:cNvPr id="42" name="Текст 36"/>
          <p:cNvSpPr>
            <a:spLocks noGrp="1"/>
          </p:cNvSpPr>
          <p:nvPr>
            <p:ph type="body" sz="quarter" idx="57" hasCustomPrompt="1"/>
          </p:nvPr>
        </p:nvSpPr>
        <p:spPr>
          <a:xfrm>
            <a:off x="695400" y="3069976"/>
            <a:ext cx="564266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</a:t>
            </a:r>
            <a:endParaRPr lang="ru-RU" dirty="0"/>
          </a:p>
        </p:txBody>
      </p:sp>
      <p:sp>
        <p:nvSpPr>
          <p:cNvPr id="43" name="Текст 36"/>
          <p:cNvSpPr>
            <a:spLocks noGrp="1"/>
          </p:cNvSpPr>
          <p:nvPr>
            <p:ph type="body" sz="quarter" idx="58" hasCustomPrompt="1"/>
          </p:nvPr>
        </p:nvSpPr>
        <p:spPr>
          <a:xfrm>
            <a:off x="695400" y="4943127"/>
            <a:ext cx="564266" cy="1079500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592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спешный кей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12124" y="0"/>
            <a:ext cx="407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ятиугольник 12"/>
          <p:cNvSpPr/>
          <p:nvPr/>
        </p:nvSpPr>
        <p:spPr>
          <a:xfrm>
            <a:off x="8105803" y="728382"/>
            <a:ext cx="864096" cy="612386"/>
          </a:xfrm>
          <a:prstGeom prst="homePlat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30" hasCustomPrompt="1"/>
          </p:nvPr>
        </p:nvSpPr>
        <p:spPr>
          <a:xfrm>
            <a:off x="8399463" y="2132315"/>
            <a:ext cx="3430587" cy="3312810"/>
          </a:xfrm>
          <a:prstGeom prst="rect">
            <a:avLst/>
          </a:prstGeom>
        </p:spPr>
        <p:txBody>
          <a:bodyPr/>
          <a:lstStyle>
            <a:lvl1pPr>
              <a:defRPr sz="1400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ru-RU" dirty="0"/>
              <a:t>Тут цитата клиента про то, как мы ему необычайно помогли и как он рад, счастлив и доволен результатами нашего труда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056176" y="1670650"/>
            <a:ext cx="6489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/>
              <a:t>“</a:t>
            </a:r>
            <a:endParaRPr lang="ru-RU" sz="5400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510176" y="5602014"/>
            <a:ext cx="3464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/>
              <a:t>”</a:t>
            </a:r>
            <a:endParaRPr lang="ru-RU" sz="5400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32" hasCustomPrompt="1"/>
          </p:nvPr>
        </p:nvSpPr>
        <p:spPr>
          <a:xfrm>
            <a:off x="1271588" y="2132856"/>
            <a:ext cx="2736850" cy="3312269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ru-RU" dirty="0"/>
              <a:t>Короткое описание поставленной клиентом задачи</a:t>
            </a:r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6061" y="890778"/>
            <a:ext cx="361703" cy="315259"/>
          </a:xfrm>
          <a:prstGeom prst="rect">
            <a:avLst/>
          </a:prstGeom>
        </p:spPr>
      </p:pic>
      <p:sp>
        <p:nvSpPr>
          <p:cNvPr id="20" name="Текст 15"/>
          <p:cNvSpPr>
            <a:spLocks noGrp="1"/>
          </p:cNvSpPr>
          <p:nvPr>
            <p:ph type="body" sz="quarter" idx="33" hasCustomPrompt="1"/>
          </p:nvPr>
        </p:nvSpPr>
        <p:spPr>
          <a:xfrm>
            <a:off x="4828547" y="2132856"/>
            <a:ext cx="2736850" cy="3312269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ru-RU" dirty="0"/>
              <a:t>Короткое описание нашего решения и достигнутых результатов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335360" y="188914"/>
            <a:ext cx="7776765" cy="11525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Описание успешно выполненного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476526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 серым акцен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12124" y="0"/>
            <a:ext cx="407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188914"/>
            <a:ext cx="7776765" cy="11525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18277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ажный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12124" y="0"/>
            <a:ext cx="407987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7535638" y="898156"/>
            <a:ext cx="1152974" cy="5959844"/>
            <a:chOff x="7535638" y="898156"/>
            <a:chExt cx="1152974" cy="5959844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>
              <a:off x="8112125" y="1964878"/>
              <a:ext cx="0" cy="4893122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Восьмиугольник 9"/>
            <p:cNvSpPr/>
            <p:nvPr/>
          </p:nvSpPr>
          <p:spPr>
            <a:xfrm>
              <a:off x="7535638" y="898156"/>
              <a:ext cx="1152974" cy="1152974"/>
            </a:xfrm>
            <a:prstGeom prst="octagon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35360" y="188914"/>
            <a:ext cx="7776765" cy="11525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9158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онтик ба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2442" y="1268760"/>
            <a:ext cx="10067118" cy="1510310"/>
          </a:xfrm>
          <a:prstGeom prst="rect">
            <a:avLst/>
          </a:prstGeom>
        </p:spPr>
      </p:pic>
      <p:sp>
        <p:nvSpPr>
          <p:cNvPr id="5" name="Прямоугольник 4"/>
          <p:cNvSpPr/>
          <p:nvPr userDrawn="1"/>
        </p:nvSpPr>
        <p:spPr>
          <a:xfrm>
            <a:off x="0" y="2708275"/>
            <a:ext cx="12192000" cy="4149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4731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онтик низк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олилиния 26"/>
          <p:cNvSpPr/>
          <p:nvPr userDrawn="1"/>
        </p:nvSpPr>
        <p:spPr>
          <a:xfrm>
            <a:off x="3143672" y="2717333"/>
            <a:ext cx="7175985" cy="2510972"/>
          </a:xfrm>
          <a:custGeom>
            <a:avLst/>
            <a:gdLst>
              <a:gd name="connsiteX0" fmla="*/ 0 w 7082971"/>
              <a:gd name="connsiteY0" fmla="*/ 2510972 h 2510972"/>
              <a:gd name="connsiteX1" fmla="*/ 0 w 7082971"/>
              <a:gd name="connsiteY1" fmla="*/ 0 h 2510972"/>
              <a:gd name="connsiteX2" fmla="*/ 7082971 w 7082971"/>
              <a:gd name="connsiteY2" fmla="*/ 2467429 h 2510972"/>
              <a:gd name="connsiteX3" fmla="*/ 0 w 7082971"/>
              <a:gd name="connsiteY3" fmla="*/ 2510972 h 2510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2971" h="2510972">
                <a:moveTo>
                  <a:pt x="0" y="2510972"/>
                </a:moveTo>
                <a:lnTo>
                  <a:pt x="0" y="0"/>
                </a:lnTo>
                <a:lnTo>
                  <a:pt x="7082971" y="2467429"/>
                </a:lnTo>
                <a:lnTo>
                  <a:pt x="0" y="25109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  <a:prstDash val="dash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2442" y="3790898"/>
            <a:ext cx="10067118" cy="1654326"/>
          </a:xfrm>
          <a:prstGeom prst="rect">
            <a:avLst/>
          </a:prstGeom>
        </p:spPr>
      </p:pic>
      <p:cxnSp>
        <p:nvCxnSpPr>
          <p:cNvPr id="14" name="Прямая соединительная линия 13"/>
          <p:cNvCxnSpPr>
            <a:stCxn id="27" idx="1"/>
          </p:cNvCxnSpPr>
          <p:nvPr userDrawn="1"/>
        </p:nvCxnSpPr>
        <p:spPr>
          <a:xfrm>
            <a:off x="3143672" y="2717333"/>
            <a:ext cx="0" cy="2727891"/>
          </a:xfrm>
          <a:prstGeom prst="line">
            <a:avLst/>
          </a:prstGeom>
          <a:ln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0" y="5445124"/>
            <a:ext cx="12192000" cy="14128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7213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инк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5175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ru-RU" dirty="0"/>
              <a:t>Фоновый рисунок</a:t>
            </a:r>
          </a:p>
        </p:txBody>
      </p:sp>
      <p:sp>
        <p:nvSpPr>
          <p:cNvPr id="7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335360" y="2719470"/>
            <a:ext cx="5039915" cy="135723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Глубокомысленный текст на фоне черно-белой картинки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9634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Чемпионат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pp.vk.me/c622517/v622517387/2df99/Qq6JzPipiwk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3705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 userDrawn="1"/>
        </p:nvSpPr>
        <p:spPr>
          <a:xfrm>
            <a:off x="0" y="3240264"/>
            <a:ext cx="12186618" cy="361773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5359" y="4509120"/>
            <a:ext cx="6408341" cy="1083251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ороткий заголовок презентации в две строки максимум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8925373" y="1341437"/>
            <a:ext cx="3261246" cy="5489177"/>
            <a:chOff x="6164080" y="57"/>
            <a:chExt cx="4520655" cy="7537442"/>
          </a:xfrm>
        </p:grpSpPr>
        <p:sp>
          <p:nvSpPr>
            <p:cNvPr id="7" name="object 12"/>
            <p:cNvSpPr/>
            <p:nvPr userDrawn="1"/>
          </p:nvSpPr>
          <p:spPr>
            <a:xfrm>
              <a:off x="9177854" y="301351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8" name="object 13"/>
            <p:cNvSpPr/>
            <p:nvPr userDrawn="1"/>
          </p:nvSpPr>
          <p:spPr>
            <a:xfrm>
              <a:off x="9177855" y="6030618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9" name="object 14"/>
            <p:cNvSpPr/>
            <p:nvPr userDrawn="1"/>
          </p:nvSpPr>
          <p:spPr>
            <a:xfrm>
              <a:off x="9177855" y="4520401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1435354"/>
                  </a:lnTo>
                  <a:lnTo>
                    <a:pt x="1477251" y="1435354"/>
                  </a:lnTo>
                  <a:lnTo>
                    <a:pt x="71526" y="29629"/>
                  </a:lnTo>
                  <a:lnTo>
                    <a:pt x="1506880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506880" y="29629"/>
                  </a:moveTo>
                  <a:lnTo>
                    <a:pt x="1477251" y="29629"/>
                  </a:lnTo>
                  <a:lnTo>
                    <a:pt x="1477251" y="1435354"/>
                  </a:lnTo>
                  <a:lnTo>
                    <a:pt x="1506880" y="1435354"/>
                  </a:lnTo>
                  <a:lnTo>
                    <a:pt x="1506880" y="29629"/>
                  </a:lnTo>
                  <a:close/>
                </a:path>
              </a:pathLst>
            </a:custGeom>
            <a:solidFill>
              <a:srgbClr val="D6DCDC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0" name="object 15"/>
            <p:cNvSpPr/>
            <p:nvPr userDrawn="1"/>
          </p:nvSpPr>
          <p:spPr>
            <a:xfrm>
              <a:off x="6164080" y="150662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1" name="object 16"/>
            <p:cNvSpPr/>
            <p:nvPr userDrawn="1"/>
          </p:nvSpPr>
          <p:spPr>
            <a:xfrm>
              <a:off x="7670971" y="150667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2" name="object 17"/>
            <p:cNvSpPr/>
            <p:nvPr userDrawn="1"/>
          </p:nvSpPr>
          <p:spPr>
            <a:xfrm>
              <a:off x="9177855" y="57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3" name="object 18"/>
            <p:cNvSpPr/>
            <p:nvPr userDrawn="1"/>
          </p:nvSpPr>
          <p:spPr>
            <a:xfrm>
              <a:off x="7670966" y="150694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4" name="object 19"/>
            <p:cNvSpPr/>
            <p:nvPr userDrawn="1"/>
          </p:nvSpPr>
          <p:spPr>
            <a:xfrm>
              <a:off x="7670971" y="57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1435354"/>
                  </a:lnTo>
                  <a:lnTo>
                    <a:pt x="1477251" y="1435354"/>
                  </a:lnTo>
                  <a:lnTo>
                    <a:pt x="71526" y="29629"/>
                  </a:lnTo>
                  <a:lnTo>
                    <a:pt x="1506880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506880" y="29629"/>
                  </a:moveTo>
                  <a:lnTo>
                    <a:pt x="1477251" y="29629"/>
                  </a:lnTo>
                  <a:lnTo>
                    <a:pt x="1477251" y="1435354"/>
                  </a:lnTo>
                  <a:lnTo>
                    <a:pt x="1506880" y="1435354"/>
                  </a:lnTo>
                  <a:lnTo>
                    <a:pt x="1506880" y="29629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5" name="object 20"/>
            <p:cNvSpPr/>
            <p:nvPr userDrawn="1"/>
          </p:nvSpPr>
          <p:spPr>
            <a:xfrm>
              <a:off x="7670971" y="301351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6" name="object 21"/>
            <p:cNvSpPr/>
            <p:nvPr userDrawn="1"/>
          </p:nvSpPr>
          <p:spPr>
            <a:xfrm>
              <a:off x="6164082" y="4520402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D6DCDC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7" name="object 22"/>
            <p:cNvSpPr/>
            <p:nvPr userDrawn="1"/>
          </p:nvSpPr>
          <p:spPr>
            <a:xfrm>
              <a:off x="7670971" y="452040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E212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8" name="object 23"/>
            <p:cNvSpPr/>
            <p:nvPr userDrawn="1"/>
          </p:nvSpPr>
          <p:spPr>
            <a:xfrm>
              <a:off x="6164080" y="3013521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9" name="object 24"/>
            <p:cNvSpPr/>
            <p:nvPr userDrawn="1"/>
          </p:nvSpPr>
          <p:spPr>
            <a:xfrm>
              <a:off x="9177855" y="150694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0" name="object 25"/>
            <p:cNvSpPr/>
            <p:nvPr userDrawn="1"/>
          </p:nvSpPr>
          <p:spPr>
            <a:xfrm>
              <a:off x="7670971" y="301351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1" name="object 26"/>
            <p:cNvSpPr/>
            <p:nvPr userDrawn="1"/>
          </p:nvSpPr>
          <p:spPr>
            <a:xfrm>
              <a:off x="7670971" y="603061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71526" y="1435353"/>
                  </a:lnTo>
                  <a:lnTo>
                    <a:pt x="29629" y="1435353"/>
                  </a:lnTo>
                  <a:lnTo>
                    <a:pt x="29629" y="29629"/>
                  </a:lnTo>
                  <a:lnTo>
                    <a:pt x="1477251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477251" y="29629"/>
                  </a:moveTo>
                  <a:lnTo>
                    <a:pt x="1435354" y="29629"/>
                  </a:lnTo>
                  <a:lnTo>
                    <a:pt x="29629" y="1435353"/>
                  </a:lnTo>
                  <a:lnTo>
                    <a:pt x="71526" y="1435353"/>
                  </a:lnTo>
                  <a:lnTo>
                    <a:pt x="1477251" y="29629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22" name="object 3"/>
          <p:cNvSpPr/>
          <p:nvPr userDrawn="1"/>
        </p:nvSpPr>
        <p:spPr>
          <a:xfrm>
            <a:off x="496255" y="3738015"/>
            <a:ext cx="1722555" cy="287547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2290652" y="3708109"/>
            <a:ext cx="581009" cy="331599"/>
            <a:chOff x="2290652" y="399744"/>
            <a:chExt cx="581009" cy="331599"/>
          </a:xfrm>
        </p:grpSpPr>
        <p:sp>
          <p:nvSpPr>
            <p:cNvPr id="24" name="object 4"/>
            <p:cNvSpPr/>
            <p:nvPr userDrawn="1"/>
          </p:nvSpPr>
          <p:spPr>
            <a:xfrm>
              <a:off x="254006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5" name="object 5"/>
            <p:cNvSpPr/>
            <p:nvPr userDrawn="1"/>
          </p:nvSpPr>
          <p:spPr>
            <a:xfrm>
              <a:off x="2540063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6" name="object 6"/>
            <p:cNvSpPr/>
            <p:nvPr userDrawn="1"/>
          </p:nvSpPr>
          <p:spPr>
            <a:xfrm>
              <a:off x="2705861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7" name="object 7"/>
            <p:cNvSpPr/>
            <p:nvPr userDrawn="1"/>
          </p:nvSpPr>
          <p:spPr>
            <a:xfrm>
              <a:off x="2705863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8" name="object 8"/>
            <p:cNvSpPr/>
            <p:nvPr userDrawn="1"/>
          </p:nvSpPr>
          <p:spPr>
            <a:xfrm>
              <a:off x="229065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142354"/>
                  </a:lnTo>
                  <a:lnTo>
                    <a:pt x="156083" y="142354"/>
                  </a:lnTo>
                  <a:lnTo>
                    <a:pt x="23444" y="9715"/>
                  </a:lnTo>
                  <a:lnTo>
                    <a:pt x="165798" y="9715"/>
                  </a:lnTo>
                  <a:lnTo>
                    <a:pt x="165798" y="0"/>
                  </a:lnTo>
                  <a:close/>
                </a:path>
                <a:path w="165798" h="165798">
                  <a:moveTo>
                    <a:pt x="165798" y="9715"/>
                  </a:moveTo>
                  <a:lnTo>
                    <a:pt x="156083" y="9715"/>
                  </a:lnTo>
                  <a:lnTo>
                    <a:pt x="156083" y="142354"/>
                  </a:lnTo>
                  <a:lnTo>
                    <a:pt x="165798" y="142354"/>
                  </a:lnTo>
                  <a:lnTo>
                    <a:pt x="165798" y="9715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9" name="object 9"/>
            <p:cNvSpPr/>
            <p:nvPr userDrawn="1"/>
          </p:nvSpPr>
          <p:spPr>
            <a:xfrm>
              <a:off x="2290652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0" name="object 10"/>
            <p:cNvSpPr/>
            <p:nvPr userDrawn="1"/>
          </p:nvSpPr>
          <p:spPr>
            <a:xfrm>
              <a:off x="2456450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1" name="object 11"/>
            <p:cNvSpPr/>
            <p:nvPr userDrawn="1"/>
          </p:nvSpPr>
          <p:spPr>
            <a:xfrm>
              <a:off x="2456451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33" name="Текст 32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5730790"/>
            <a:ext cx="6408737" cy="6509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z="1800" dirty="0"/>
              <a:t>Краткий уточняющий подзаголовок презентации, уточняющий ее содержание</a:t>
            </a:r>
            <a:endParaRPr lang="ru-RU" dirty="0"/>
          </a:p>
        </p:txBody>
      </p:sp>
      <p:sp>
        <p:nvSpPr>
          <p:cNvPr id="4" name="Равнобедренный треугольник 3"/>
          <p:cNvSpPr/>
          <p:nvPr userDrawn="1"/>
        </p:nvSpPr>
        <p:spPr>
          <a:xfrm rot="5400000">
            <a:off x="11649311" y="3"/>
            <a:ext cx="540000" cy="540000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9619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  <p15:guide id="2" orient="horz" pos="361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ртне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4770" y="4164653"/>
            <a:ext cx="1017971" cy="1628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Изображение 2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7469" y="3111238"/>
            <a:ext cx="719521" cy="55870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Изображение 1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1332" y="4097002"/>
            <a:ext cx="758983" cy="298178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Изображение 1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1887" y="4021192"/>
            <a:ext cx="917651" cy="449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Изображение 1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2262" y="2393691"/>
            <a:ext cx="618957" cy="2695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Изображение 1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6726" y="3093668"/>
            <a:ext cx="1263501" cy="5938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4329" y="3172827"/>
            <a:ext cx="1365155" cy="4355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1484" y="4060699"/>
            <a:ext cx="794320" cy="3707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0987" y="1444089"/>
            <a:ext cx="1217958" cy="3603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9460" y="4028326"/>
            <a:ext cx="1136165" cy="4355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3169719"/>
            <a:ext cx="772041" cy="441744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643" y="3127920"/>
            <a:ext cx="692444" cy="525342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8289" y="4905860"/>
            <a:ext cx="1152128" cy="3857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6904" y="5589943"/>
            <a:ext cx="1370263" cy="57590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6349" y="2377721"/>
            <a:ext cx="609014" cy="301496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2399096"/>
            <a:ext cx="1249149" cy="258746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0" y="1304823"/>
            <a:ext cx="612245" cy="638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9869" y="5687619"/>
            <a:ext cx="1183486" cy="38055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473" y="1420553"/>
            <a:ext cx="1107646" cy="4074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Рисунок 24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6813" y="1488705"/>
            <a:ext cx="1496323" cy="2711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" descr="http://www.doma-v-pavlovo.ru/on-line/images/+content/8D3022A1-04CB-4287-8BAA-9D8E692F70B7/logo_rosbank.png"/>
          <p:cNvPicPr>
            <a:picLocks noChangeAspect="1" noChangeArrowheads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9613" y="2349709"/>
            <a:ext cx="1165825" cy="357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0937" y="4958439"/>
            <a:ext cx="1115311" cy="280577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7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1004" y="1383511"/>
            <a:ext cx="1000200" cy="481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Picture 8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4232" y="3049762"/>
            <a:ext cx="1307595" cy="68165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Picture 9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0542" y="2338937"/>
            <a:ext cx="849899" cy="379064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10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9993" y="4762120"/>
            <a:ext cx="1496031" cy="673214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Рисунок 31"/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6323" y="2344582"/>
            <a:ext cx="1114922" cy="367774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8513" y="4509120"/>
            <a:ext cx="1179215" cy="117921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Picture 2" descr="http://www.dou14-reutov.ru/images/logo-1-.png"/>
          <p:cNvPicPr>
            <a:picLocks noChangeAspect="1" noChangeArrowheads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2998" y="4873165"/>
            <a:ext cx="1325674" cy="45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Изображение 13"/>
          <p:cNvPicPr>
            <a:picLocks noChangeAspect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9072" y="1314000"/>
            <a:ext cx="933154" cy="620547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Изображение 16"/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61" y="4018286"/>
            <a:ext cx="963035" cy="455611"/>
          </a:xfrm>
          <a:prstGeom prst="rect">
            <a:avLst/>
          </a:prstGeom>
        </p:spPr>
      </p:pic>
      <p:pic>
        <p:nvPicPr>
          <p:cNvPr id="37" name="Изображение 42"/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5545" y="2369308"/>
            <a:ext cx="1591613" cy="318323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Изображение 2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6132" y="3212917"/>
            <a:ext cx="710508" cy="355348"/>
          </a:xfrm>
          <a:prstGeom prst="rect">
            <a:avLst/>
          </a:prstGeom>
        </p:spPr>
      </p:pic>
      <p:pic>
        <p:nvPicPr>
          <p:cNvPr id="39" name="Изображение 3"/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7541" y="4002491"/>
            <a:ext cx="1054798" cy="487200"/>
          </a:xfrm>
          <a:prstGeom prst="rect">
            <a:avLst/>
          </a:prstGeom>
        </p:spPr>
      </p:pic>
      <p:pic>
        <p:nvPicPr>
          <p:cNvPr id="40" name="Picture 2" descr="https://kasperskycontenthub.com/eugene/files/2011/05/kaspersky_logo.png"/>
          <p:cNvPicPr>
            <a:picLocks noChangeAspect="1" noChangeArrowheads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75" y="5659674"/>
            <a:ext cx="1359029" cy="43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http://upload.wikimedia.org/wikipedia/commons/thumb/f/f3/Reckitt_Benckiser.svg/2000px-Reckitt_Benckiser.svg.png"/>
          <p:cNvPicPr>
            <a:picLocks noChangeAspect="1" noChangeArrowheads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681" y="4857788"/>
            <a:ext cx="1103959" cy="481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 descr="http://upload.wikimedia.org/wikipedia/commons/thumb/c/cd/Obi.svg/2000px-Obi.svg.png"/>
          <p:cNvPicPr>
            <a:picLocks noChangeAspect="1" noChangeArrowheads="1"/>
          </p:cNvPicPr>
          <p:nvPr userDrawn="1"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60470" y="2404695"/>
            <a:ext cx="996170" cy="247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8" descr="http://www.prairielandag.com/wp-content/uploads/2009/07/delaval-dairy-products-logo.gif"/>
          <p:cNvPicPr>
            <a:picLocks noChangeAspect="1" noChangeArrowheads="1"/>
          </p:cNvPicPr>
          <p:nvPr userDrawn="1"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3668" y="5784628"/>
            <a:ext cx="951720" cy="186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0" descr="http://www.tadviser.ru/images/3/3a/Logo-Raimbek-Bottlers-%D0%90%D0%BB%D0%BC%D0%B0%D1%82%D1%8B.jpg"/>
          <p:cNvPicPr>
            <a:picLocks noChangeAspect="1" noChangeArrowheads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4949" y="3882549"/>
            <a:ext cx="477238" cy="727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" descr="http://upload.wikimedia.org/wikipedia/commons/thumb/9/92/UNIQLO_logo.svg/2000px-UNIQLO_logo.svg.png"/>
          <p:cNvPicPr>
            <a:picLocks noChangeAspect="1" noChangeArrowheads="1"/>
          </p:cNvPicPr>
          <p:nvPr userDrawn="1"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1889" y="5643335"/>
            <a:ext cx="471479" cy="469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" descr="http://www.tdkport.ru/uploads/filemanager/files/ffff/logo_vert_rus.jpg"/>
          <p:cNvPicPr>
            <a:picLocks noChangeAspect="1" noChangeArrowheads="1"/>
          </p:cNvPicPr>
          <p:nvPr userDrawn="1"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366" y="4722383"/>
            <a:ext cx="757367" cy="752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6" descr="https://www.raiffeisen.hu/documents/global/sajtoszoba/logo/Raiffeisen_Bank_logo_szines.jpg"/>
          <p:cNvPicPr>
            <a:picLocks noChangeAspect="1" noChangeArrowheads="1"/>
          </p:cNvPicPr>
          <p:nvPr userDrawn="1"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29856" y="5698804"/>
            <a:ext cx="1226784" cy="358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8" descr="http://logonoid.com/images/tatneft-logo.jpg"/>
          <p:cNvPicPr>
            <a:picLocks noChangeAspect="1" noChangeArrowheads="1"/>
          </p:cNvPicPr>
          <p:nvPr userDrawn="1"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9069" y="3170622"/>
            <a:ext cx="1279822" cy="43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0" descr="http://hh.ru/employer-logo/1049214.jpeg"/>
          <p:cNvPicPr>
            <a:picLocks noChangeAspect="1" noChangeArrowheads="1"/>
          </p:cNvPicPr>
          <p:nvPr userDrawn="1"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777" y="1461688"/>
            <a:ext cx="876863" cy="325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2" descr="http://asi.ru/events/krasnoforum/2013/ASI_logo.png"/>
          <p:cNvPicPr>
            <a:picLocks noChangeAspect="1" noChangeArrowheads="1"/>
          </p:cNvPicPr>
          <p:nvPr userDrawn="1"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90094" y="1313156"/>
            <a:ext cx="1491817" cy="622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4" descr="http://changellenge.com/wp-content/uploads/2014/04/%D1%81%D1%82%D1%80%D0%B0%D1%82%D0%B5%D0%B3%D0%B8%D1%8F.jpg"/>
          <p:cNvPicPr>
            <a:picLocks noChangeAspect="1" noChangeArrowheads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005" y="5701391"/>
            <a:ext cx="1312650" cy="35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8" descr="http://www.xn--174-5cdyro.xn--p1ai/ikea.jpg"/>
          <p:cNvPicPr>
            <a:picLocks noChangeAspect="1" noChangeArrowheads="1"/>
          </p:cNvPicPr>
          <p:nvPr userDrawn="1"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7156" y="5693157"/>
            <a:ext cx="1073247" cy="369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Заголовок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3398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 RU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/>
          <p:cNvGrpSpPr/>
          <p:nvPr userDrawn="1"/>
        </p:nvGrpSpPr>
        <p:grpSpPr>
          <a:xfrm>
            <a:off x="546439" y="332656"/>
            <a:ext cx="581009" cy="331599"/>
            <a:chOff x="2290652" y="399744"/>
            <a:chExt cx="581009" cy="331599"/>
          </a:xfrm>
        </p:grpSpPr>
        <p:sp>
          <p:nvSpPr>
            <p:cNvPr id="21" name="object 4"/>
            <p:cNvSpPr/>
            <p:nvPr userDrawn="1"/>
          </p:nvSpPr>
          <p:spPr>
            <a:xfrm>
              <a:off x="254006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2" name="object 5"/>
            <p:cNvSpPr/>
            <p:nvPr userDrawn="1"/>
          </p:nvSpPr>
          <p:spPr>
            <a:xfrm>
              <a:off x="2540063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3" name="object 6"/>
            <p:cNvSpPr/>
            <p:nvPr userDrawn="1"/>
          </p:nvSpPr>
          <p:spPr>
            <a:xfrm>
              <a:off x="2705861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2705863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5" name="object 8"/>
            <p:cNvSpPr/>
            <p:nvPr userDrawn="1"/>
          </p:nvSpPr>
          <p:spPr>
            <a:xfrm>
              <a:off x="229065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142354"/>
                  </a:lnTo>
                  <a:lnTo>
                    <a:pt x="156083" y="142354"/>
                  </a:lnTo>
                  <a:lnTo>
                    <a:pt x="23444" y="9715"/>
                  </a:lnTo>
                  <a:lnTo>
                    <a:pt x="165798" y="9715"/>
                  </a:lnTo>
                  <a:lnTo>
                    <a:pt x="165798" y="0"/>
                  </a:lnTo>
                  <a:close/>
                </a:path>
                <a:path w="165798" h="165798">
                  <a:moveTo>
                    <a:pt x="165798" y="9715"/>
                  </a:moveTo>
                  <a:lnTo>
                    <a:pt x="156083" y="9715"/>
                  </a:lnTo>
                  <a:lnTo>
                    <a:pt x="156083" y="142354"/>
                  </a:lnTo>
                  <a:lnTo>
                    <a:pt x="165798" y="142354"/>
                  </a:lnTo>
                  <a:lnTo>
                    <a:pt x="165798" y="9715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6" name="object 9"/>
            <p:cNvSpPr/>
            <p:nvPr userDrawn="1"/>
          </p:nvSpPr>
          <p:spPr>
            <a:xfrm>
              <a:off x="2290652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7" name="object 10"/>
            <p:cNvSpPr/>
            <p:nvPr userDrawn="1"/>
          </p:nvSpPr>
          <p:spPr>
            <a:xfrm>
              <a:off x="2456450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8" name="object 11"/>
            <p:cNvSpPr/>
            <p:nvPr userDrawn="1"/>
          </p:nvSpPr>
          <p:spPr>
            <a:xfrm>
              <a:off x="2456451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335360" y="2708274"/>
            <a:ext cx="6335712" cy="1368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Готовим будущих </a:t>
            </a:r>
            <a:r>
              <a:rPr lang="en-US" dirty="0"/>
              <a:t>CEO </a:t>
            </a:r>
            <a:r>
              <a:rPr lang="ru-RU" dirty="0"/>
              <a:t>России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407988" y="4076700"/>
            <a:ext cx="51119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>
                <a:solidFill>
                  <a:schemeClr val="bg1"/>
                </a:solidFill>
              </a:rPr>
              <a:t>Changellenge &gt;&gt; </a:t>
            </a:r>
            <a:r>
              <a:rPr lang="ru-RU" dirty="0">
                <a:solidFill>
                  <a:schemeClr val="bg1"/>
                </a:solidFill>
              </a:rPr>
              <a:t>Национальная лига кейсов и Агентство</a:t>
            </a:r>
            <a:r>
              <a:rPr lang="ru-RU" baseline="0" dirty="0">
                <a:solidFill>
                  <a:schemeClr val="bg1"/>
                </a:solidFill>
              </a:rPr>
              <a:t> по развитию бренда работодателя</a:t>
            </a:r>
          </a:p>
          <a:p>
            <a:pPr lvl="0"/>
            <a:r>
              <a:rPr lang="en-US" dirty="0">
                <a:solidFill>
                  <a:schemeClr val="bg1"/>
                </a:solidFill>
                <a:hlinkClick r:id="rId2"/>
              </a:rPr>
              <a:t>www.changellenge.com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445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 EN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/>
          <p:cNvGrpSpPr/>
          <p:nvPr userDrawn="1"/>
        </p:nvGrpSpPr>
        <p:grpSpPr>
          <a:xfrm>
            <a:off x="546439" y="332656"/>
            <a:ext cx="581009" cy="331599"/>
            <a:chOff x="2290652" y="399744"/>
            <a:chExt cx="581009" cy="331599"/>
          </a:xfrm>
        </p:grpSpPr>
        <p:sp>
          <p:nvSpPr>
            <p:cNvPr id="21" name="object 4"/>
            <p:cNvSpPr/>
            <p:nvPr userDrawn="1"/>
          </p:nvSpPr>
          <p:spPr>
            <a:xfrm>
              <a:off x="254006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2" name="object 5"/>
            <p:cNvSpPr/>
            <p:nvPr userDrawn="1"/>
          </p:nvSpPr>
          <p:spPr>
            <a:xfrm>
              <a:off x="2540063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3" name="object 6"/>
            <p:cNvSpPr/>
            <p:nvPr userDrawn="1"/>
          </p:nvSpPr>
          <p:spPr>
            <a:xfrm>
              <a:off x="2705861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4" name="object 7"/>
            <p:cNvSpPr/>
            <p:nvPr userDrawn="1"/>
          </p:nvSpPr>
          <p:spPr>
            <a:xfrm>
              <a:off x="2705863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5" name="object 8"/>
            <p:cNvSpPr/>
            <p:nvPr userDrawn="1"/>
          </p:nvSpPr>
          <p:spPr>
            <a:xfrm>
              <a:off x="229065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142354"/>
                  </a:lnTo>
                  <a:lnTo>
                    <a:pt x="156083" y="142354"/>
                  </a:lnTo>
                  <a:lnTo>
                    <a:pt x="23444" y="9715"/>
                  </a:lnTo>
                  <a:lnTo>
                    <a:pt x="165798" y="9715"/>
                  </a:lnTo>
                  <a:lnTo>
                    <a:pt x="165798" y="0"/>
                  </a:lnTo>
                  <a:close/>
                </a:path>
                <a:path w="165798" h="165798">
                  <a:moveTo>
                    <a:pt x="165798" y="9715"/>
                  </a:moveTo>
                  <a:lnTo>
                    <a:pt x="156083" y="9715"/>
                  </a:lnTo>
                  <a:lnTo>
                    <a:pt x="156083" y="142354"/>
                  </a:lnTo>
                  <a:lnTo>
                    <a:pt x="165798" y="142354"/>
                  </a:lnTo>
                  <a:lnTo>
                    <a:pt x="165798" y="9715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6" name="object 9"/>
            <p:cNvSpPr/>
            <p:nvPr userDrawn="1"/>
          </p:nvSpPr>
          <p:spPr>
            <a:xfrm>
              <a:off x="2290652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7" name="object 10"/>
            <p:cNvSpPr/>
            <p:nvPr userDrawn="1"/>
          </p:nvSpPr>
          <p:spPr>
            <a:xfrm>
              <a:off x="2456450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8" name="object 11"/>
            <p:cNvSpPr/>
            <p:nvPr userDrawn="1"/>
          </p:nvSpPr>
          <p:spPr>
            <a:xfrm>
              <a:off x="2456451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335360" y="2708274"/>
            <a:ext cx="5039915" cy="13684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We</a:t>
            </a:r>
            <a:r>
              <a:rPr lang="en-US" baseline="0" dirty="0"/>
              <a:t> connect your brand with future CEOs of Russia</a:t>
            </a:r>
            <a:endParaRPr lang="ru-RU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07988" y="4076700"/>
            <a:ext cx="51119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>
                <a:solidFill>
                  <a:schemeClr val="bg1"/>
                </a:solidFill>
              </a:rPr>
              <a:t>Changellenge &gt;&gt; National Case League and Graduate Marketing Agency</a:t>
            </a:r>
            <a:endParaRPr lang="ru-RU" baseline="0" dirty="0">
              <a:solidFill>
                <a:schemeClr val="bg1"/>
              </a:solidFill>
            </a:endParaRPr>
          </a:p>
          <a:p>
            <a:pPr lvl="0"/>
            <a:r>
              <a:rPr lang="en-US" dirty="0">
                <a:solidFill>
                  <a:schemeClr val="bg1"/>
                </a:solidFill>
                <a:hlinkClick r:id="rId2"/>
              </a:rPr>
              <a:t>www.changellenge.com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463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Обучение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pp.vk.me/c625626/v625626542/297a6/uGVa8iZuLCk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323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 userDrawn="1"/>
        </p:nvSpPr>
        <p:spPr>
          <a:xfrm>
            <a:off x="0" y="3240264"/>
            <a:ext cx="12186618" cy="361773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5359" y="4509120"/>
            <a:ext cx="6408341" cy="1083251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ороткий заголовок презентации в две строки максимум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8925373" y="1341437"/>
            <a:ext cx="3261246" cy="5489177"/>
            <a:chOff x="6164080" y="57"/>
            <a:chExt cx="4520655" cy="7537442"/>
          </a:xfrm>
        </p:grpSpPr>
        <p:sp>
          <p:nvSpPr>
            <p:cNvPr id="7" name="object 12"/>
            <p:cNvSpPr/>
            <p:nvPr userDrawn="1"/>
          </p:nvSpPr>
          <p:spPr>
            <a:xfrm>
              <a:off x="9177854" y="301351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8" name="object 13"/>
            <p:cNvSpPr/>
            <p:nvPr userDrawn="1"/>
          </p:nvSpPr>
          <p:spPr>
            <a:xfrm>
              <a:off x="9177855" y="6030618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9" name="object 14"/>
            <p:cNvSpPr/>
            <p:nvPr userDrawn="1"/>
          </p:nvSpPr>
          <p:spPr>
            <a:xfrm>
              <a:off x="9177855" y="4520401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1435354"/>
                  </a:lnTo>
                  <a:lnTo>
                    <a:pt x="1477251" y="1435354"/>
                  </a:lnTo>
                  <a:lnTo>
                    <a:pt x="71526" y="29629"/>
                  </a:lnTo>
                  <a:lnTo>
                    <a:pt x="1506880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506880" y="29629"/>
                  </a:moveTo>
                  <a:lnTo>
                    <a:pt x="1477251" y="29629"/>
                  </a:lnTo>
                  <a:lnTo>
                    <a:pt x="1477251" y="1435354"/>
                  </a:lnTo>
                  <a:lnTo>
                    <a:pt x="1506880" y="1435354"/>
                  </a:lnTo>
                  <a:lnTo>
                    <a:pt x="1506880" y="29629"/>
                  </a:lnTo>
                  <a:close/>
                </a:path>
              </a:pathLst>
            </a:custGeom>
            <a:solidFill>
              <a:srgbClr val="D6DCDC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0" name="object 15"/>
            <p:cNvSpPr/>
            <p:nvPr userDrawn="1"/>
          </p:nvSpPr>
          <p:spPr>
            <a:xfrm>
              <a:off x="6164080" y="150662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1" name="object 16"/>
            <p:cNvSpPr/>
            <p:nvPr userDrawn="1"/>
          </p:nvSpPr>
          <p:spPr>
            <a:xfrm>
              <a:off x="7670971" y="150667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2" name="object 17"/>
            <p:cNvSpPr/>
            <p:nvPr userDrawn="1"/>
          </p:nvSpPr>
          <p:spPr>
            <a:xfrm>
              <a:off x="9177855" y="57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3" name="object 18"/>
            <p:cNvSpPr/>
            <p:nvPr userDrawn="1"/>
          </p:nvSpPr>
          <p:spPr>
            <a:xfrm>
              <a:off x="7670966" y="150694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4" name="object 19"/>
            <p:cNvSpPr/>
            <p:nvPr userDrawn="1"/>
          </p:nvSpPr>
          <p:spPr>
            <a:xfrm>
              <a:off x="7670971" y="57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1435354"/>
                  </a:lnTo>
                  <a:lnTo>
                    <a:pt x="1477251" y="1435354"/>
                  </a:lnTo>
                  <a:lnTo>
                    <a:pt x="71526" y="29629"/>
                  </a:lnTo>
                  <a:lnTo>
                    <a:pt x="1506880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506880" y="29629"/>
                  </a:moveTo>
                  <a:lnTo>
                    <a:pt x="1477251" y="29629"/>
                  </a:lnTo>
                  <a:lnTo>
                    <a:pt x="1477251" y="1435354"/>
                  </a:lnTo>
                  <a:lnTo>
                    <a:pt x="1506880" y="1435354"/>
                  </a:lnTo>
                  <a:lnTo>
                    <a:pt x="1506880" y="29629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5" name="object 20"/>
            <p:cNvSpPr/>
            <p:nvPr userDrawn="1"/>
          </p:nvSpPr>
          <p:spPr>
            <a:xfrm>
              <a:off x="7670971" y="301351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6" name="object 21"/>
            <p:cNvSpPr/>
            <p:nvPr userDrawn="1"/>
          </p:nvSpPr>
          <p:spPr>
            <a:xfrm>
              <a:off x="6164082" y="4520402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D6DCDC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7" name="object 22"/>
            <p:cNvSpPr/>
            <p:nvPr userDrawn="1"/>
          </p:nvSpPr>
          <p:spPr>
            <a:xfrm>
              <a:off x="7670971" y="4520406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E2129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8" name="object 23"/>
            <p:cNvSpPr/>
            <p:nvPr userDrawn="1"/>
          </p:nvSpPr>
          <p:spPr>
            <a:xfrm>
              <a:off x="6164080" y="3013521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19" name="object 24"/>
            <p:cNvSpPr/>
            <p:nvPr userDrawn="1"/>
          </p:nvSpPr>
          <p:spPr>
            <a:xfrm>
              <a:off x="9177855" y="150694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0" name="object 25"/>
            <p:cNvSpPr/>
            <p:nvPr userDrawn="1"/>
          </p:nvSpPr>
          <p:spPr>
            <a:xfrm>
              <a:off x="7670971" y="3013514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1506880"/>
                  </a:lnTo>
                  <a:lnTo>
                    <a:pt x="1506880" y="1506880"/>
                  </a:lnTo>
                  <a:lnTo>
                    <a:pt x="1506880" y="0"/>
                  </a:lnTo>
                  <a:close/>
                </a:path>
              </a:pathLst>
            </a:custGeom>
            <a:solidFill>
              <a:srgbClr val="4B5261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1" name="object 26"/>
            <p:cNvSpPr/>
            <p:nvPr userDrawn="1"/>
          </p:nvSpPr>
          <p:spPr>
            <a:xfrm>
              <a:off x="7670971" y="6030619"/>
              <a:ext cx="1506880" cy="1506880"/>
            </a:xfrm>
            <a:custGeom>
              <a:avLst/>
              <a:gdLst/>
              <a:ahLst/>
              <a:cxnLst/>
              <a:rect l="l" t="t" r="r" b="b"/>
              <a:pathLst>
                <a:path w="1506880" h="1506880">
                  <a:moveTo>
                    <a:pt x="1506880" y="0"/>
                  </a:moveTo>
                  <a:lnTo>
                    <a:pt x="0" y="0"/>
                  </a:lnTo>
                  <a:lnTo>
                    <a:pt x="0" y="1506880"/>
                  </a:lnTo>
                  <a:lnTo>
                    <a:pt x="71526" y="1435353"/>
                  </a:lnTo>
                  <a:lnTo>
                    <a:pt x="29629" y="1435353"/>
                  </a:lnTo>
                  <a:lnTo>
                    <a:pt x="29629" y="29629"/>
                  </a:lnTo>
                  <a:lnTo>
                    <a:pt x="1477251" y="29629"/>
                  </a:lnTo>
                  <a:lnTo>
                    <a:pt x="1506880" y="0"/>
                  </a:lnTo>
                  <a:close/>
                </a:path>
                <a:path w="1506880" h="1506880">
                  <a:moveTo>
                    <a:pt x="1477251" y="29629"/>
                  </a:moveTo>
                  <a:lnTo>
                    <a:pt x="1435354" y="29629"/>
                  </a:lnTo>
                  <a:lnTo>
                    <a:pt x="29629" y="1435353"/>
                  </a:lnTo>
                  <a:lnTo>
                    <a:pt x="71526" y="1435353"/>
                  </a:lnTo>
                  <a:lnTo>
                    <a:pt x="1477251" y="29629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22" name="object 3"/>
          <p:cNvSpPr/>
          <p:nvPr userDrawn="1"/>
        </p:nvSpPr>
        <p:spPr>
          <a:xfrm>
            <a:off x="496255" y="3738015"/>
            <a:ext cx="1722555" cy="287547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2290652" y="3708109"/>
            <a:ext cx="581009" cy="331599"/>
            <a:chOff x="2290652" y="399744"/>
            <a:chExt cx="581009" cy="331599"/>
          </a:xfrm>
        </p:grpSpPr>
        <p:sp>
          <p:nvSpPr>
            <p:cNvPr id="24" name="object 4"/>
            <p:cNvSpPr/>
            <p:nvPr userDrawn="1"/>
          </p:nvSpPr>
          <p:spPr>
            <a:xfrm>
              <a:off x="254006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5" name="object 5"/>
            <p:cNvSpPr/>
            <p:nvPr userDrawn="1"/>
          </p:nvSpPr>
          <p:spPr>
            <a:xfrm>
              <a:off x="2540063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6" name="object 6"/>
            <p:cNvSpPr/>
            <p:nvPr userDrawn="1"/>
          </p:nvSpPr>
          <p:spPr>
            <a:xfrm>
              <a:off x="2705861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7" name="object 7"/>
            <p:cNvSpPr/>
            <p:nvPr userDrawn="1"/>
          </p:nvSpPr>
          <p:spPr>
            <a:xfrm>
              <a:off x="2705863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8" name="object 8"/>
            <p:cNvSpPr/>
            <p:nvPr userDrawn="1"/>
          </p:nvSpPr>
          <p:spPr>
            <a:xfrm>
              <a:off x="2290652" y="3997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165798" y="165798"/>
                  </a:lnTo>
                  <a:lnTo>
                    <a:pt x="165798" y="142354"/>
                  </a:lnTo>
                  <a:lnTo>
                    <a:pt x="156083" y="142354"/>
                  </a:lnTo>
                  <a:lnTo>
                    <a:pt x="23444" y="9715"/>
                  </a:lnTo>
                  <a:lnTo>
                    <a:pt x="165798" y="9715"/>
                  </a:lnTo>
                  <a:lnTo>
                    <a:pt x="165798" y="0"/>
                  </a:lnTo>
                  <a:close/>
                </a:path>
                <a:path w="165798" h="165798">
                  <a:moveTo>
                    <a:pt x="165798" y="9715"/>
                  </a:moveTo>
                  <a:lnTo>
                    <a:pt x="156083" y="9715"/>
                  </a:lnTo>
                  <a:lnTo>
                    <a:pt x="156083" y="142354"/>
                  </a:lnTo>
                  <a:lnTo>
                    <a:pt x="165798" y="142354"/>
                  </a:lnTo>
                  <a:lnTo>
                    <a:pt x="165798" y="9715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29" name="object 9"/>
            <p:cNvSpPr/>
            <p:nvPr userDrawn="1"/>
          </p:nvSpPr>
          <p:spPr>
            <a:xfrm>
              <a:off x="2290652" y="565544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0" name="object 10"/>
            <p:cNvSpPr/>
            <p:nvPr userDrawn="1"/>
          </p:nvSpPr>
          <p:spPr>
            <a:xfrm>
              <a:off x="2456450" y="5655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165798" y="0"/>
                  </a:moveTo>
                  <a:lnTo>
                    <a:pt x="0" y="0"/>
                  </a:lnTo>
                  <a:lnTo>
                    <a:pt x="0" y="165798"/>
                  </a:lnTo>
                  <a:lnTo>
                    <a:pt x="165798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sp>
          <p:nvSpPr>
            <p:cNvPr id="31" name="object 11"/>
            <p:cNvSpPr/>
            <p:nvPr userDrawn="1"/>
          </p:nvSpPr>
          <p:spPr>
            <a:xfrm>
              <a:off x="2456451" y="399745"/>
              <a:ext cx="165798" cy="165798"/>
            </a:xfrm>
            <a:custGeom>
              <a:avLst/>
              <a:gdLst/>
              <a:ahLst/>
              <a:cxnLst/>
              <a:rect l="l" t="t" r="r" b="b"/>
              <a:pathLst>
                <a:path w="165798" h="165798">
                  <a:moveTo>
                    <a:pt x="0" y="0"/>
                  </a:moveTo>
                  <a:lnTo>
                    <a:pt x="0" y="165798"/>
                  </a:lnTo>
                  <a:lnTo>
                    <a:pt x="165798" y="1657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222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</p:grpSp>
      <p:sp>
        <p:nvSpPr>
          <p:cNvPr id="33" name="Текст 32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5730790"/>
            <a:ext cx="6408737" cy="6509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z="1800" dirty="0"/>
              <a:t>Краткий уточняющий подзаголовок презентации, уточняющий ее содержание</a:t>
            </a:r>
            <a:endParaRPr lang="ru-RU" dirty="0"/>
          </a:p>
        </p:txBody>
      </p:sp>
      <p:sp>
        <p:nvSpPr>
          <p:cNvPr id="4" name="Равнобедренный треугольник 3"/>
          <p:cNvSpPr/>
          <p:nvPr userDrawn="1"/>
        </p:nvSpPr>
        <p:spPr>
          <a:xfrm rot="5400000">
            <a:off x="11649311" y="3"/>
            <a:ext cx="540000" cy="540000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7842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  <p15:guide id="2" orient="horz" pos="36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ращение C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360" y="692944"/>
            <a:ext cx="4564856" cy="6175890"/>
          </a:xfrm>
          <a:prstGeom prst="rect">
            <a:avLst/>
          </a:prstGeom>
        </p:spPr>
      </p:pic>
      <p:sp>
        <p:nvSpPr>
          <p:cNvPr id="12" name="Прямоугольник 11"/>
          <p:cNvSpPr/>
          <p:nvPr userDrawn="1"/>
        </p:nvSpPr>
        <p:spPr>
          <a:xfrm>
            <a:off x="5375275" y="1341439"/>
            <a:ext cx="5473700" cy="5516562"/>
          </a:xfrm>
          <a:prstGeom prst="rect">
            <a:avLst/>
          </a:prstGeom>
          <a:noFill/>
          <a:ln w="3175">
            <a:solidFill>
              <a:schemeClr val="accent1"/>
            </a:solidFill>
            <a:prstDash val="solid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591944" y="1556793"/>
            <a:ext cx="5040560" cy="36724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sz="1200" dirty="0"/>
              <a:t>Тут текст обращения к дорогим клиентам.</a:t>
            </a:r>
            <a:endParaRPr lang="ru-RU" dirty="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5557120" y="5550753"/>
            <a:ext cx="30438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С уважением, </a:t>
            </a:r>
          </a:p>
          <a:p>
            <a:r>
              <a:rPr lang="ru-RU" sz="1200" dirty="0"/>
              <a:t>Генеральный директор</a:t>
            </a:r>
          </a:p>
          <a:p>
            <a:r>
              <a:rPr lang="en-US" sz="1200" dirty="0"/>
              <a:t>Changellenge &gt;&gt; </a:t>
            </a:r>
            <a:r>
              <a:rPr lang="ru-RU" sz="1200" dirty="0"/>
              <a:t>(ООО «СЛ Капитал»)</a:t>
            </a:r>
          </a:p>
          <a:p>
            <a:r>
              <a:rPr lang="ru-RU" sz="1200" dirty="0"/>
              <a:t>Андрей Алясов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1746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услуги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5445125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360" y="1377753"/>
            <a:ext cx="3355429" cy="26918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Коротко об услуге</a:t>
            </a: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0" y="5445126"/>
            <a:ext cx="12192000" cy="13973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13" name="Группа 12"/>
          <p:cNvGrpSpPr/>
          <p:nvPr userDrawn="1"/>
        </p:nvGrpSpPr>
        <p:grpSpPr>
          <a:xfrm>
            <a:off x="8256240" y="1438910"/>
            <a:ext cx="3514474" cy="2174148"/>
            <a:chOff x="8400256" y="1340768"/>
            <a:chExt cx="3514474" cy="2174148"/>
          </a:xfrm>
        </p:grpSpPr>
        <p:sp>
          <p:nvSpPr>
            <p:cNvPr id="15" name="Text Box 20"/>
            <p:cNvSpPr txBox="1">
              <a:spLocks noChangeArrowheads="1"/>
            </p:cNvSpPr>
            <p:nvPr/>
          </p:nvSpPr>
          <p:spPr bwMode="auto">
            <a:xfrm>
              <a:off x="11640616" y="2767019"/>
              <a:ext cx="274114" cy="747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en-US" sz="5400" b="1" dirty="0">
                  <a:solidFill>
                    <a:schemeClr val="bg1"/>
                  </a:solidFill>
                  <a:latin typeface="PT Sans"/>
                  <a:cs typeface="PT Sans"/>
                </a:rPr>
                <a:t>”</a:t>
              </a:r>
              <a:endParaRPr lang="de-DE" sz="5400" b="1" dirty="0">
                <a:solidFill>
                  <a:schemeClr val="bg1"/>
                </a:solidFill>
                <a:latin typeface="PT Sans"/>
                <a:cs typeface="PT Sans"/>
              </a:endParaRPr>
            </a:p>
          </p:txBody>
        </p:sp>
        <p:sp>
          <p:nvSpPr>
            <p:cNvPr id="16" name="Text Box 20"/>
            <p:cNvSpPr txBox="1">
              <a:spLocks noChangeArrowheads="1"/>
            </p:cNvSpPr>
            <p:nvPr/>
          </p:nvSpPr>
          <p:spPr bwMode="auto">
            <a:xfrm>
              <a:off x="8400256" y="1340768"/>
              <a:ext cx="274114" cy="747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en-US" sz="5400" b="1" dirty="0">
                  <a:solidFill>
                    <a:schemeClr val="bg1"/>
                  </a:solidFill>
                  <a:latin typeface="PT Sans"/>
                  <a:cs typeface="PT Sans"/>
                </a:rPr>
                <a:t>“</a:t>
              </a:r>
              <a:endParaRPr lang="de-DE" sz="5400" b="1" dirty="0">
                <a:solidFill>
                  <a:schemeClr val="bg1"/>
                </a:solidFill>
                <a:latin typeface="PT Sans"/>
                <a:cs typeface="PT Sans"/>
              </a:endParaRPr>
            </a:p>
          </p:txBody>
        </p:sp>
      </p:grpSp>
      <p:sp>
        <p:nvSpPr>
          <p:cNvPr id="37" name="TextBox 36"/>
          <p:cNvSpPr txBox="1"/>
          <p:nvPr userDrawn="1"/>
        </p:nvSpPr>
        <p:spPr>
          <a:xfrm>
            <a:off x="334963" y="5445224"/>
            <a:ext cx="3096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Уже воспользовались этой услугой:</a:t>
            </a:r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>
            <a:off x="4007768" y="1340768"/>
            <a:ext cx="0" cy="332931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 userDrawn="1"/>
        </p:nvCxnSpPr>
        <p:spPr>
          <a:xfrm>
            <a:off x="8112224" y="1340768"/>
            <a:ext cx="0" cy="332931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 userDrawn="1"/>
        </p:nvSpPr>
        <p:spPr>
          <a:xfrm>
            <a:off x="335360" y="4077072"/>
            <a:ext cx="964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Охват: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335360" y="4386785"/>
            <a:ext cx="2415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Качество аудитории:</a:t>
            </a:r>
          </a:p>
        </p:txBody>
      </p:sp>
      <p:sp>
        <p:nvSpPr>
          <p:cNvPr id="51" name="Текст 5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264350" y="4084550"/>
            <a:ext cx="1668462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Охват</a:t>
            </a:r>
          </a:p>
        </p:txBody>
      </p:sp>
      <p:sp>
        <p:nvSpPr>
          <p:cNvPr id="48" name="Текст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726940" y="1377755"/>
            <a:ext cx="3385284" cy="7092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Что входит в услугу:</a:t>
            </a:r>
          </a:p>
          <a:p>
            <a:pPr lvl="0"/>
            <a:r>
              <a:rPr lang="ru-RU" dirty="0"/>
              <a:t>Тут список всяких работ, которые входят в услугу</a:t>
            </a:r>
          </a:p>
        </p:txBody>
      </p:sp>
      <p:sp>
        <p:nvSpPr>
          <p:cNvPr id="49" name="Текст 2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4726940" y="3429000"/>
            <a:ext cx="3385284" cy="69394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Решаемые задачи:</a:t>
            </a:r>
          </a:p>
          <a:p>
            <a:pPr lvl="0"/>
            <a:r>
              <a:rPr lang="ru-RU" dirty="0"/>
              <a:t>Тут список задач, которые будут решены с помощью этой услуги</a:t>
            </a:r>
          </a:p>
        </p:txBody>
      </p:sp>
      <p:sp>
        <p:nvSpPr>
          <p:cNvPr id="50" name="Текст 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596851" y="1510918"/>
            <a:ext cx="3260187" cy="155480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Цитата о том, какая это классная услуга</a:t>
            </a:r>
          </a:p>
        </p:txBody>
      </p:sp>
      <p:sp>
        <p:nvSpPr>
          <p:cNvPr id="10" name="Рисунок 9"/>
          <p:cNvSpPr>
            <a:spLocks noGrp="1"/>
          </p:cNvSpPr>
          <p:nvPr userDrawn="1">
            <p:ph type="pic" sz="quarter" idx="19" hasCustomPrompt="1"/>
          </p:nvPr>
        </p:nvSpPr>
        <p:spPr>
          <a:xfrm>
            <a:off x="11119054" y="3167102"/>
            <a:ext cx="720000" cy="72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Лого партнера</a:t>
            </a:r>
          </a:p>
        </p:txBody>
      </p:sp>
      <p:sp>
        <p:nvSpPr>
          <p:cNvPr id="52" name="Рисунок 51"/>
          <p:cNvSpPr>
            <a:spLocks noGrp="1"/>
          </p:cNvSpPr>
          <p:nvPr userDrawn="1">
            <p:ph type="pic" sz="quarter" idx="20" hasCustomPrompt="1"/>
          </p:nvPr>
        </p:nvSpPr>
        <p:spPr>
          <a:xfrm>
            <a:off x="334963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53" name="Рисунок 51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682974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54" name="Рисунок 51"/>
          <p:cNvSpPr>
            <a:spLocks noGrp="1"/>
          </p:cNvSpPr>
          <p:nvPr userDrawn="1">
            <p:ph type="pic" sz="quarter" idx="22" hasCustomPrompt="1"/>
          </p:nvPr>
        </p:nvSpPr>
        <p:spPr>
          <a:xfrm>
            <a:off x="3030985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55" name="Рисунок 51"/>
          <p:cNvSpPr>
            <a:spLocks noGrp="1"/>
          </p:cNvSpPr>
          <p:nvPr userDrawn="1">
            <p:ph type="pic" sz="quarter" idx="23" hasCustomPrompt="1"/>
          </p:nvPr>
        </p:nvSpPr>
        <p:spPr>
          <a:xfrm>
            <a:off x="4378996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56" name="Рисунок 51"/>
          <p:cNvSpPr>
            <a:spLocks noGrp="1"/>
          </p:cNvSpPr>
          <p:nvPr userDrawn="1">
            <p:ph type="pic" sz="quarter" idx="24" hasCustomPrompt="1"/>
          </p:nvPr>
        </p:nvSpPr>
        <p:spPr>
          <a:xfrm>
            <a:off x="5727007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57" name="Рисунок 51"/>
          <p:cNvSpPr>
            <a:spLocks noGrp="1"/>
          </p:cNvSpPr>
          <p:nvPr userDrawn="1">
            <p:ph type="pic" sz="quarter" idx="25" hasCustomPrompt="1"/>
          </p:nvPr>
        </p:nvSpPr>
        <p:spPr>
          <a:xfrm>
            <a:off x="7075018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58" name="Рисунок 51"/>
          <p:cNvSpPr>
            <a:spLocks noGrp="1"/>
          </p:cNvSpPr>
          <p:nvPr userDrawn="1">
            <p:ph type="pic" sz="quarter" idx="26" hasCustomPrompt="1"/>
          </p:nvPr>
        </p:nvSpPr>
        <p:spPr>
          <a:xfrm>
            <a:off x="8423029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59" name="Рисунок 51"/>
          <p:cNvSpPr>
            <a:spLocks noGrp="1"/>
          </p:cNvSpPr>
          <p:nvPr userDrawn="1">
            <p:ph type="pic" sz="quarter" idx="27" hasCustomPrompt="1"/>
          </p:nvPr>
        </p:nvSpPr>
        <p:spPr>
          <a:xfrm>
            <a:off x="9771040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60" name="Рисунок 51"/>
          <p:cNvSpPr>
            <a:spLocks noGrp="1"/>
          </p:cNvSpPr>
          <p:nvPr userDrawn="1">
            <p:ph type="pic" sz="quarter" idx="28" hasCustomPrompt="1"/>
          </p:nvPr>
        </p:nvSpPr>
        <p:spPr>
          <a:xfrm>
            <a:off x="11119054" y="5805264"/>
            <a:ext cx="720000" cy="720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45" name="Пятиугольник 44"/>
          <p:cNvSpPr/>
          <p:nvPr userDrawn="1"/>
        </p:nvSpPr>
        <p:spPr>
          <a:xfrm>
            <a:off x="4008438" y="1340768"/>
            <a:ext cx="576461" cy="435230"/>
          </a:xfrm>
          <a:prstGeom prst="homePlat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314" y="1393656"/>
            <a:ext cx="423536" cy="360631"/>
          </a:xfrm>
          <a:prstGeom prst="rect">
            <a:avLst/>
          </a:prstGeom>
        </p:spPr>
      </p:pic>
      <p:sp>
        <p:nvSpPr>
          <p:cNvPr id="46" name="Пятиугольник 45"/>
          <p:cNvSpPr/>
          <p:nvPr userDrawn="1"/>
        </p:nvSpPr>
        <p:spPr>
          <a:xfrm>
            <a:off x="4008438" y="3438400"/>
            <a:ext cx="576461" cy="435230"/>
          </a:xfrm>
          <a:prstGeom prst="homePlat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4739" y="3481958"/>
            <a:ext cx="230207" cy="348202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8255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дача-решение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 userDrawn="1"/>
        </p:nvSpPr>
        <p:spPr>
          <a:xfrm>
            <a:off x="335360" y="1341438"/>
            <a:ext cx="426305" cy="5214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Прямоугольник 41"/>
          <p:cNvSpPr/>
          <p:nvPr userDrawn="1"/>
        </p:nvSpPr>
        <p:spPr>
          <a:xfrm>
            <a:off x="2639616" y="1341438"/>
            <a:ext cx="426305" cy="5214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Прямоугольник 40"/>
          <p:cNvSpPr/>
          <p:nvPr userDrawn="1"/>
        </p:nvSpPr>
        <p:spPr>
          <a:xfrm>
            <a:off x="5375920" y="1341438"/>
            <a:ext cx="426305" cy="5214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3" hasCustomPrompt="1"/>
          </p:nvPr>
        </p:nvSpPr>
        <p:spPr>
          <a:xfrm>
            <a:off x="8130423" y="0"/>
            <a:ext cx="406157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графия с описываемого мероприятия или релевантная описываемой кампании</a:t>
            </a:r>
          </a:p>
        </p:txBody>
      </p:sp>
      <p:sp>
        <p:nvSpPr>
          <p:cNvPr id="32" name="Текст 31"/>
          <p:cNvSpPr>
            <a:spLocks noGrp="1"/>
          </p:cNvSpPr>
          <p:nvPr>
            <p:ph type="body" sz="quarter" idx="14" hasCustomPrompt="1"/>
          </p:nvPr>
        </p:nvSpPr>
        <p:spPr>
          <a:xfrm>
            <a:off x="335360" y="1917031"/>
            <a:ext cx="2127408" cy="2959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Описание поставленной перед нами задачи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767408" y="1537047"/>
            <a:ext cx="2232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Задача: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5807968" y="1537047"/>
            <a:ext cx="2232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Результат: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3071664" y="1537047"/>
            <a:ext cx="2232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Наше решение:</a:t>
            </a:r>
          </a:p>
        </p:txBody>
      </p:sp>
      <p:sp>
        <p:nvSpPr>
          <p:cNvPr id="33" name="Текст 31"/>
          <p:cNvSpPr>
            <a:spLocks noGrp="1"/>
          </p:cNvSpPr>
          <p:nvPr>
            <p:ph type="body" sz="quarter" idx="15" hasCustomPrompt="1"/>
          </p:nvPr>
        </p:nvSpPr>
        <p:spPr>
          <a:xfrm>
            <a:off x="2640237" y="1917031"/>
            <a:ext cx="2591668" cy="2959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Описание придуманного нами решения</a:t>
            </a:r>
          </a:p>
        </p:txBody>
      </p:sp>
      <p:sp>
        <p:nvSpPr>
          <p:cNvPr id="34" name="Текст 31"/>
          <p:cNvSpPr>
            <a:spLocks noGrp="1"/>
          </p:cNvSpPr>
          <p:nvPr>
            <p:ph type="body" sz="quarter" idx="16" hasCustomPrompt="1"/>
          </p:nvPr>
        </p:nvSpPr>
        <p:spPr>
          <a:xfrm>
            <a:off x="5375920" y="1917031"/>
            <a:ext cx="2649663" cy="2959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Описание полученного клиентом результата</a:t>
            </a: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68294" y="1393612"/>
            <a:ext cx="3604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/>
                </a:solidFill>
              </a:rPr>
              <a:t>?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0268" y="1507985"/>
            <a:ext cx="205000" cy="31007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8089" y="1497104"/>
            <a:ext cx="277871" cy="267875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0" y="1341438"/>
            <a:ext cx="8328645" cy="0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5360" y="188914"/>
            <a:ext cx="7795063" cy="11525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Резюме, более подробно о решении и результате, с картинкой</a:t>
            </a:r>
          </a:p>
        </p:txBody>
      </p:sp>
      <p:sp>
        <p:nvSpPr>
          <p:cNvPr id="29" name="Прямоугольник 28"/>
          <p:cNvSpPr/>
          <p:nvPr userDrawn="1"/>
        </p:nvSpPr>
        <p:spPr>
          <a:xfrm>
            <a:off x="0" y="4876801"/>
            <a:ext cx="8112125" cy="1981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6" name="Группа 35"/>
          <p:cNvGrpSpPr/>
          <p:nvPr userDrawn="1"/>
        </p:nvGrpSpPr>
        <p:grpSpPr>
          <a:xfrm>
            <a:off x="4378753" y="4876800"/>
            <a:ext cx="4021503" cy="1964393"/>
            <a:chOff x="2069067" y="4932069"/>
            <a:chExt cx="1774344" cy="1964393"/>
          </a:xfrm>
        </p:grpSpPr>
        <p:sp>
          <p:nvSpPr>
            <p:cNvPr id="38" name="Text Box 20"/>
            <p:cNvSpPr txBox="1">
              <a:spLocks noChangeArrowheads="1"/>
            </p:cNvSpPr>
            <p:nvPr/>
          </p:nvSpPr>
          <p:spPr bwMode="auto">
            <a:xfrm>
              <a:off x="3569297" y="6148565"/>
              <a:ext cx="274114" cy="747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en-US" sz="5400" b="1" dirty="0">
                  <a:latin typeface="PT Sans"/>
                  <a:cs typeface="PT Sans"/>
                </a:rPr>
                <a:t>”</a:t>
              </a:r>
              <a:endParaRPr lang="de-DE" sz="5400" b="1" dirty="0">
                <a:latin typeface="PT Sans"/>
                <a:cs typeface="PT Sans"/>
              </a:endParaRPr>
            </a:p>
          </p:txBody>
        </p:sp>
        <p:sp>
          <p:nvSpPr>
            <p:cNvPr id="39" name="Text Box 20"/>
            <p:cNvSpPr txBox="1">
              <a:spLocks noChangeArrowheads="1"/>
            </p:cNvSpPr>
            <p:nvPr/>
          </p:nvSpPr>
          <p:spPr bwMode="auto">
            <a:xfrm>
              <a:off x="2069067" y="4932069"/>
              <a:ext cx="274114" cy="747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en-US" sz="5400" b="1" dirty="0">
                  <a:latin typeface="PT Sans"/>
                  <a:cs typeface="PT Sans"/>
                </a:rPr>
                <a:t>“</a:t>
              </a:r>
              <a:endParaRPr lang="de-DE" sz="5400" b="1" dirty="0">
                <a:latin typeface="PT Sans"/>
                <a:cs typeface="PT Sans"/>
              </a:endParaRPr>
            </a:p>
          </p:txBody>
        </p:sp>
      </p:grpSp>
      <p:sp>
        <p:nvSpPr>
          <p:cNvPr id="40" name="Текст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29710" y="4949008"/>
            <a:ext cx="3266489" cy="14327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0" baseline="0"/>
            </a:lvl1pPr>
          </a:lstStyle>
          <a:p>
            <a:pPr lvl="0"/>
            <a:r>
              <a:rPr lang="ru-RU" dirty="0"/>
              <a:t>Цитата клиента о том, каких крутых результатов он достиг, благодаря решению, придуманному нами в ответ на поставленную нам задачу</a:t>
            </a:r>
          </a:p>
        </p:txBody>
      </p:sp>
      <p:sp>
        <p:nvSpPr>
          <p:cNvPr id="44" name="Рисунок 36"/>
          <p:cNvSpPr>
            <a:spLocks noGrp="1"/>
          </p:cNvSpPr>
          <p:nvPr>
            <p:ph type="pic" sz="quarter" idx="18" hasCustomPrompt="1"/>
          </p:nvPr>
        </p:nvSpPr>
        <p:spPr>
          <a:xfrm>
            <a:off x="362567" y="4930984"/>
            <a:ext cx="747713" cy="69371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45" name="Текст 31"/>
          <p:cNvSpPr>
            <a:spLocks noGrp="1"/>
          </p:cNvSpPr>
          <p:nvPr>
            <p:ph type="body" sz="quarter" idx="22" hasCustomPrompt="1"/>
          </p:nvPr>
        </p:nvSpPr>
        <p:spPr>
          <a:xfrm>
            <a:off x="1266655" y="4949008"/>
            <a:ext cx="2720584" cy="14327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Описание успешно завершенного нами проекта, похожего на тот, который описывается выше в предложении</a:t>
            </a:r>
          </a:p>
        </p:txBody>
      </p:sp>
    </p:spTree>
    <p:extLst>
      <p:ext uri="{BB962C8B-B14F-4D97-AF65-F5344CB8AC3E}">
        <p14:creationId xmlns:p14="http://schemas.microsoft.com/office/powerpoint/2010/main" val="2351659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дача - реш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 userDrawn="1"/>
        </p:nvSpPr>
        <p:spPr>
          <a:xfrm>
            <a:off x="0" y="4876801"/>
            <a:ext cx="8112125" cy="1981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Прямоугольник 42"/>
          <p:cNvSpPr/>
          <p:nvPr userDrawn="1"/>
        </p:nvSpPr>
        <p:spPr>
          <a:xfrm>
            <a:off x="335360" y="1341438"/>
            <a:ext cx="426305" cy="5214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Прямоугольник 41"/>
          <p:cNvSpPr/>
          <p:nvPr userDrawn="1"/>
        </p:nvSpPr>
        <p:spPr>
          <a:xfrm>
            <a:off x="2639616" y="1341438"/>
            <a:ext cx="426305" cy="52141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3" hasCustomPrompt="1"/>
          </p:nvPr>
        </p:nvSpPr>
        <p:spPr>
          <a:xfrm>
            <a:off x="8130423" y="0"/>
            <a:ext cx="406157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графия с описываемого мероприятия или релевантная описываемой кампании</a:t>
            </a:r>
          </a:p>
        </p:txBody>
      </p:sp>
      <p:sp>
        <p:nvSpPr>
          <p:cNvPr id="32" name="Текст 31"/>
          <p:cNvSpPr>
            <a:spLocks noGrp="1"/>
          </p:cNvSpPr>
          <p:nvPr>
            <p:ph type="body" sz="quarter" idx="14" hasCustomPrompt="1"/>
          </p:nvPr>
        </p:nvSpPr>
        <p:spPr>
          <a:xfrm>
            <a:off x="335360" y="1917031"/>
            <a:ext cx="2127408" cy="2887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Описание поставленной перед нами задачи</a:t>
            </a: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4378753" y="4876800"/>
            <a:ext cx="4021503" cy="1964393"/>
            <a:chOff x="2069067" y="4932069"/>
            <a:chExt cx="1774344" cy="1964393"/>
          </a:xfrm>
        </p:grpSpPr>
        <p:sp>
          <p:nvSpPr>
            <p:cNvPr id="17" name="Text Box 20"/>
            <p:cNvSpPr txBox="1">
              <a:spLocks noChangeArrowheads="1"/>
            </p:cNvSpPr>
            <p:nvPr/>
          </p:nvSpPr>
          <p:spPr bwMode="auto">
            <a:xfrm>
              <a:off x="3569297" y="6148565"/>
              <a:ext cx="274114" cy="747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en-US" sz="5400" b="1" dirty="0">
                  <a:latin typeface="PT Sans"/>
                  <a:cs typeface="PT Sans"/>
                </a:rPr>
                <a:t>”</a:t>
              </a:r>
              <a:endParaRPr lang="de-DE" sz="5400" b="1" dirty="0">
                <a:latin typeface="PT Sans"/>
                <a:cs typeface="PT Sans"/>
              </a:endParaRPr>
            </a:p>
          </p:txBody>
        </p:sp>
        <p:sp>
          <p:nvSpPr>
            <p:cNvPr id="18" name="Text Box 20"/>
            <p:cNvSpPr txBox="1">
              <a:spLocks noChangeArrowheads="1"/>
            </p:cNvSpPr>
            <p:nvPr/>
          </p:nvSpPr>
          <p:spPr bwMode="auto">
            <a:xfrm>
              <a:off x="2069067" y="4932069"/>
              <a:ext cx="274114" cy="747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</a:pPr>
              <a:r>
                <a:rPr lang="en-US" sz="5400" b="1" dirty="0">
                  <a:latin typeface="PT Sans"/>
                  <a:cs typeface="PT Sans"/>
                </a:rPr>
                <a:t>“</a:t>
              </a:r>
              <a:endParaRPr lang="de-DE" sz="5400" b="1" dirty="0">
                <a:latin typeface="PT Sans"/>
                <a:cs typeface="PT Sans"/>
              </a:endParaRPr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767408" y="1537047"/>
            <a:ext cx="2232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Задача: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3071664" y="1537047"/>
            <a:ext cx="22326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Наше решение:</a:t>
            </a:r>
          </a:p>
        </p:txBody>
      </p:sp>
      <p:sp>
        <p:nvSpPr>
          <p:cNvPr id="33" name="Текст 31"/>
          <p:cNvSpPr>
            <a:spLocks noGrp="1"/>
          </p:cNvSpPr>
          <p:nvPr>
            <p:ph type="body" sz="quarter" idx="15" hasCustomPrompt="1"/>
          </p:nvPr>
        </p:nvSpPr>
        <p:spPr>
          <a:xfrm>
            <a:off x="2640237" y="1917031"/>
            <a:ext cx="5255962" cy="2887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Более подробное описание предлагаемого решения и достигаемого с его помощью результата</a:t>
            </a:r>
          </a:p>
        </p:txBody>
      </p:sp>
      <p:sp>
        <p:nvSpPr>
          <p:cNvPr id="35" name="Текст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29710" y="4949008"/>
            <a:ext cx="3266489" cy="14327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0" baseline="0"/>
            </a:lvl1pPr>
          </a:lstStyle>
          <a:p>
            <a:pPr lvl="0"/>
            <a:r>
              <a:rPr lang="ru-RU" dirty="0"/>
              <a:t>Цитата клиента о том, каких крутых результатов он достиг, благодаря решению, придуманному нами в ответ на поставленную нам задачу</a:t>
            </a:r>
          </a:p>
        </p:txBody>
      </p:sp>
      <p:sp>
        <p:nvSpPr>
          <p:cNvPr id="37" name="Рисунок 36"/>
          <p:cNvSpPr>
            <a:spLocks noGrp="1"/>
          </p:cNvSpPr>
          <p:nvPr>
            <p:ph type="pic" sz="quarter" idx="18" hasCustomPrompt="1"/>
          </p:nvPr>
        </p:nvSpPr>
        <p:spPr>
          <a:xfrm>
            <a:off x="362567" y="4930984"/>
            <a:ext cx="747713" cy="69371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ru-RU" dirty="0"/>
              <a:t>Лого</a:t>
            </a: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68294" y="1393612"/>
            <a:ext cx="3604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1"/>
                </a:solidFill>
              </a:rPr>
              <a:t>?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0268" y="1507985"/>
            <a:ext cx="205000" cy="310075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0" y="1341438"/>
            <a:ext cx="8328645" cy="0"/>
          </a:xfrm>
          <a:prstGeom prst="line">
            <a:avLst/>
          </a:prstGeom>
          <a:ln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5360" y="188914"/>
            <a:ext cx="7776765" cy="115252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Резюме, когда нужно очень рассказать подробно о решении</a:t>
            </a:r>
          </a:p>
        </p:txBody>
      </p:sp>
      <p:sp>
        <p:nvSpPr>
          <p:cNvPr id="21" name="Текст 31"/>
          <p:cNvSpPr>
            <a:spLocks noGrp="1"/>
          </p:cNvSpPr>
          <p:nvPr>
            <p:ph type="body" sz="quarter" idx="22" hasCustomPrompt="1"/>
          </p:nvPr>
        </p:nvSpPr>
        <p:spPr>
          <a:xfrm>
            <a:off x="1266655" y="4949008"/>
            <a:ext cx="2720584" cy="14327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ru-RU" dirty="0"/>
              <a:t>Описание успешно завершенного нами проекта, похожего на тот, который описывается выше в предложении</a:t>
            </a:r>
          </a:p>
        </p:txBody>
      </p:sp>
    </p:spTree>
    <p:extLst>
      <p:ext uri="{BB962C8B-B14F-4D97-AF65-F5344CB8AC3E}">
        <p14:creationId xmlns:p14="http://schemas.microsoft.com/office/powerpoint/2010/main" val="2744050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3" hasCustomPrompt="1"/>
          </p:nvPr>
        </p:nvSpPr>
        <p:spPr>
          <a:xfrm>
            <a:off x="8130423" y="0"/>
            <a:ext cx="406157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Фотография с описываемого мероприятия или релевантная описываемой кампани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5360" y="188914"/>
            <a:ext cx="7795063" cy="115252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0823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11224591" y="6381750"/>
            <a:ext cx="605941" cy="287338"/>
          </a:xfrm>
          <a:prstGeom prst="rect">
            <a:avLst/>
          </a:prstGeom>
        </p:spPr>
        <p:txBody>
          <a:bodyPr anchor="ctr" anchorCtr="0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algn="r"/>
            <a:fld id="{5FAEBCBC-BC82-419B-9E2B-33F7A845E977}" type="slidenum">
              <a:rPr lang="ru-RU" smtClean="0"/>
              <a:pPr algn="r"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360" y="188914"/>
            <a:ext cx="11521678" cy="115252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68858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69" r:id="rId2"/>
    <p:sldLayoutId id="2147483772" r:id="rId3"/>
    <p:sldLayoutId id="2147483773" r:id="rId4"/>
    <p:sldLayoutId id="2147483735" r:id="rId5"/>
    <p:sldLayoutId id="2147483729" r:id="rId6"/>
    <p:sldLayoutId id="2147483695" r:id="rId7"/>
    <p:sldLayoutId id="2147483785" r:id="rId8"/>
    <p:sldLayoutId id="2147483784" r:id="rId9"/>
    <p:sldLayoutId id="2147483731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738" r:id="rId17"/>
    <p:sldLayoutId id="2147483705" r:id="rId18"/>
    <p:sldLayoutId id="2147483728" r:id="rId19"/>
    <p:sldLayoutId id="2147483717" r:id="rId20"/>
    <p:sldLayoutId id="2147483786" r:id="rId21"/>
    <p:sldLayoutId id="2147483774" r:id="rId22"/>
    <p:sldLayoutId id="2147483788" r:id="rId23"/>
    <p:sldLayoutId id="2147483776" r:id="rId24"/>
    <p:sldLayoutId id="2147483775" r:id="rId25"/>
    <p:sldLayoutId id="2147483787" r:id="rId26"/>
    <p:sldLayoutId id="2147483719" r:id="rId27"/>
    <p:sldLayoutId id="2147483726" r:id="rId28"/>
    <p:sldLayoutId id="2147483730" r:id="rId29"/>
    <p:sldLayoutId id="2147483770" r:id="rId30"/>
    <p:sldLayoutId id="2147483736" r:id="rId31"/>
    <p:sldLayoutId id="2147483771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24" userDrawn="1">
          <p15:clr>
            <a:srgbClr val="547EBF"/>
          </p15:clr>
        </p15:guide>
        <p15:guide id="2" orient="horz" pos="845" userDrawn="1">
          <p15:clr>
            <a:srgbClr val="547EBF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4201">
          <p15:clr>
            <a:srgbClr val="F26B43"/>
          </p15:clr>
        </p15:guide>
        <p15:guide id="7" orient="horz" pos="1706" userDrawn="1">
          <p15:clr>
            <a:srgbClr val="547EBF"/>
          </p15:clr>
        </p15:guide>
        <p15:guide id="8" orient="horz" pos="2568" userDrawn="1">
          <p15:clr>
            <a:srgbClr val="547EBF"/>
          </p15:clr>
        </p15:guide>
        <p15:guide id="9" orient="horz" pos="3430" userDrawn="1">
          <p15:clr>
            <a:srgbClr val="547EBF"/>
          </p15:clr>
        </p15:guide>
        <p15:guide id="10" pos="1685" userDrawn="1">
          <p15:clr>
            <a:srgbClr val="547EBF"/>
          </p15:clr>
        </p15:guide>
        <p15:guide id="11" pos="2547" userDrawn="1">
          <p15:clr>
            <a:srgbClr val="547EBF"/>
          </p15:clr>
        </p15:guide>
        <p15:guide id="12" pos="3409" userDrawn="1">
          <p15:clr>
            <a:srgbClr val="547EBF"/>
          </p15:clr>
        </p15:guide>
        <p15:guide id="13" pos="4271" userDrawn="1">
          <p15:clr>
            <a:srgbClr val="547EBF"/>
          </p15:clr>
        </p15:guide>
        <p15:guide id="14" pos="5133" userDrawn="1">
          <p15:clr>
            <a:srgbClr val="547EBF"/>
          </p15:clr>
        </p15:guide>
        <p15:guide id="15" pos="5995" userDrawn="1">
          <p15:clr>
            <a:srgbClr val="547EBF"/>
          </p15:clr>
        </p15:guide>
        <p15:guide id="16" pos="6856" userDrawn="1">
          <p15:clr>
            <a:srgbClr val="547EBF"/>
          </p15:clr>
        </p15:guide>
        <p15:guide id="17" orient="horz" pos="482" userDrawn="1">
          <p15:clr>
            <a:srgbClr val="F26B43"/>
          </p15:clr>
        </p15:guide>
        <p15:guide id="18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hyperlink" Target="https://vk.com/changellengeglobal" TargetMode="External"/><Relationship Id="rId3" Type="http://schemas.openxmlformats.org/officeDocument/2006/relationships/image" Target="../media/image68.svg"/><Relationship Id="rId7" Type="http://schemas.openxmlformats.org/officeDocument/2006/relationships/image" Target="../media/image72.svg"/><Relationship Id="rId12" Type="http://schemas.openxmlformats.org/officeDocument/2006/relationships/hyperlink" Target="https://www.facebook.com/Changellenge" TargetMode="External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7.png"/><Relationship Id="rId11" Type="http://schemas.openxmlformats.org/officeDocument/2006/relationships/hyperlink" Target="https://www.instagram.com/changellenge/" TargetMode="External"/><Relationship Id="rId5" Type="http://schemas.openxmlformats.org/officeDocument/2006/relationships/image" Target="../media/image70.svg"/><Relationship Id="rId10" Type="http://schemas.openxmlformats.org/officeDocument/2006/relationships/hyperlink" Target="https://changellenge.com/digest/" TargetMode="External"/><Relationship Id="rId4" Type="http://schemas.openxmlformats.org/officeDocument/2006/relationships/image" Target="../media/image76.png"/><Relationship Id="rId9" Type="http://schemas.openxmlformats.org/officeDocument/2006/relationships/image" Target="../media/image74.svg"/><Relationship Id="rId14" Type="http://schemas.openxmlformats.org/officeDocument/2006/relationships/hyperlink" Target="http://changellenge.com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tiff"/><Relationship Id="rId2" Type="http://schemas.openxmlformats.org/officeDocument/2006/relationships/hyperlink" Target="http://changellenge.com/" TargetMode="Externa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5.jp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6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Сторителлинг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9344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10</a:t>
            </a:fld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B1930C0-4D31-4300-B5FA-C57A918C3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914"/>
            <a:ext cx="11521678" cy="1152524"/>
          </a:xfrm>
        </p:spPr>
        <p:txBody>
          <a:bodyPr/>
          <a:lstStyle/>
          <a:p>
            <a:r>
              <a:rPr lang="ru-RU" dirty="0" smtClean="0"/>
              <a:t>Пример. Введение кейса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7548" y="834823"/>
            <a:ext cx="8136904" cy="576252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38663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11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35360" y="188914"/>
            <a:ext cx="11521678" cy="1152524"/>
          </a:xfrm>
        </p:spPr>
        <p:txBody>
          <a:bodyPr/>
          <a:lstStyle/>
          <a:p>
            <a:r>
              <a:rPr lang="ru-RU" dirty="0" smtClean="0"/>
              <a:t>Пример. Рабочее письмо коллегам</a:t>
            </a:r>
            <a:endParaRPr lang="en-US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284" y="1124744"/>
            <a:ext cx="11085830" cy="468052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93950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EBCE1A9-35D6-411A-9558-F83321F91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стории работают эффективнее просто структурированной информа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12</a:t>
            </a:fld>
            <a:endParaRPr lang="ru-RU" dirty="0"/>
          </a:p>
        </p:txBody>
      </p:sp>
      <p:grpSp>
        <p:nvGrpSpPr>
          <p:cNvPr id="20" name="Group 6">
            <a:extLst>
              <a:ext uri="{FF2B5EF4-FFF2-40B4-BE49-F238E27FC236}">
                <a16:creationId xmlns:a16="http://schemas.microsoft.com/office/drawing/2014/main" id="{FB50164D-7631-46EB-BF40-9C5879F9D231}"/>
              </a:ext>
            </a:extLst>
          </p:cNvPr>
          <p:cNvGrpSpPr/>
          <p:nvPr/>
        </p:nvGrpSpPr>
        <p:grpSpPr>
          <a:xfrm>
            <a:off x="695004" y="1865729"/>
            <a:ext cx="3240756" cy="1200329"/>
            <a:chOff x="334963" y="1341438"/>
            <a:chExt cx="3240756" cy="1200329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0775E0F-AE7D-40BF-B1E1-EB8D1B4BE727}"/>
                </a:ext>
              </a:extLst>
            </p:cNvPr>
            <p:cNvSpPr txBox="1"/>
            <p:nvPr/>
          </p:nvSpPr>
          <p:spPr>
            <a:xfrm>
              <a:off x="334963" y="1341438"/>
              <a:ext cx="72047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7200" dirty="0">
                  <a:solidFill>
                    <a:schemeClr val="accent1"/>
                  </a:solidFill>
                </a:rPr>
                <a:t>1</a:t>
              </a:r>
              <a:endParaRPr lang="en-US" sz="7200" dirty="0">
                <a:solidFill>
                  <a:schemeClr val="accent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04F5BBD-5515-490F-8AD9-982C3D5B2539}"/>
                </a:ext>
              </a:extLst>
            </p:cNvPr>
            <p:cNvSpPr txBox="1"/>
            <p:nvPr/>
          </p:nvSpPr>
          <p:spPr>
            <a:xfrm>
              <a:off x="983431" y="1484784"/>
              <a:ext cx="259228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Истории вызывают эмоции</a:t>
              </a:r>
              <a:endParaRPr lang="en-US" dirty="0"/>
            </a:p>
          </p:txBody>
        </p:sp>
      </p:grpSp>
      <p:grpSp>
        <p:nvGrpSpPr>
          <p:cNvPr id="24" name="Group 7">
            <a:extLst>
              <a:ext uri="{FF2B5EF4-FFF2-40B4-BE49-F238E27FC236}">
                <a16:creationId xmlns:a16="http://schemas.microsoft.com/office/drawing/2014/main" id="{A47A4B45-4676-404A-924E-9D32A7216B4B}"/>
              </a:ext>
            </a:extLst>
          </p:cNvPr>
          <p:cNvGrpSpPr/>
          <p:nvPr/>
        </p:nvGrpSpPr>
        <p:grpSpPr>
          <a:xfrm>
            <a:off x="4259599" y="1865729"/>
            <a:ext cx="3492585" cy="1200329"/>
            <a:chOff x="334963" y="1341438"/>
            <a:chExt cx="3492585" cy="1200329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96DB672-BB29-4118-831D-94BCCD888C2C}"/>
                </a:ext>
              </a:extLst>
            </p:cNvPr>
            <p:cNvSpPr txBox="1"/>
            <p:nvPr/>
          </p:nvSpPr>
          <p:spPr>
            <a:xfrm>
              <a:off x="334963" y="1341438"/>
              <a:ext cx="72047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7200" dirty="0">
                  <a:solidFill>
                    <a:schemeClr val="accent1"/>
                  </a:solidFill>
                </a:rPr>
                <a:t>2</a:t>
              </a:r>
              <a:endParaRPr lang="en-US" sz="7200" dirty="0">
                <a:solidFill>
                  <a:schemeClr val="accent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4288DF1-3C84-44D0-ABAB-7E221A3FC6FD}"/>
                </a:ext>
              </a:extLst>
            </p:cNvPr>
            <p:cNvSpPr txBox="1"/>
            <p:nvPr/>
          </p:nvSpPr>
          <p:spPr>
            <a:xfrm>
              <a:off x="983432" y="1484784"/>
              <a:ext cx="284411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Через истории человек «переживает» ситуации, формирует опыт</a:t>
              </a:r>
              <a:endParaRPr lang="en-US" dirty="0"/>
            </a:p>
          </p:txBody>
        </p:sp>
      </p:grpSp>
      <p:grpSp>
        <p:nvGrpSpPr>
          <p:cNvPr id="27" name="Group 10">
            <a:extLst>
              <a:ext uri="{FF2B5EF4-FFF2-40B4-BE49-F238E27FC236}">
                <a16:creationId xmlns:a16="http://schemas.microsoft.com/office/drawing/2014/main" id="{14FC9DA4-8ED6-48BA-9281-9BFAF353BAFE}"/>
              </a:ext>
            </a:extLst>
          </p:cNvPr>
          <p:cNvGrpSpPr/>
          <p:nvPr/>
        </p:nvGrpSpPr>
        <p:grpSpPr>
          <a:xfrm>
            <a:off x="8040217" y="1865729"/>
            <a:ext cx="3672407" cy="1200329"/>
            <a:chOff x="334963" y="1341438"/>
            <a:chExt cx="3672407" cy="1200329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0D55949-9F3C-46A6-9CB4-5CEFB5188D20}"/>
                </a:ext>
              </a:extLst>
            </p:cNvPr>
            <p:cNvSpPr txBox="1"/>
            <p:nvPr/>
          </p:nvSpPr>
          <p:spPr>
            <a:xfrm>
              <a:off x="334963" y="1341438"/>
              <a:ext cx="72047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7200" dirty="0">
                  <a:solidFill>
                    <a:schemeClr val="accent1"/>
                  </a:solidFill>
                </a:rPr>
                <a:t>3</a:t>
              </a:r>
              <a:endParaRPr lang="en-US" sz="7200" dirty="0">
                <a:solidFill>
                  <a:schemeClr val="accent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38CFBFB-CE79-4F5A-A142-B5E336B8ACB4}"/>
                </a:ext>
              </a:extLst>
            </p:cNvPr>
            <p:cNvSpPr txBox="1"/>
            <p:nvPr/>
          </p:nvSpPr>
          <p:spPr>
            <a:xfrm>
              <a:off x="983431" y="1484784"/>
              <a:ext cx="302393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Истории действуют на бессознательное</a:t>
              </a:r>
              <a:endParaRPr lang="en-US" dirty="0"/>
            </a:p>
          </p:txBody>
        </p:sp>
      </p:grpSp>
      <p:grpSp>
        <p:nvGrpSpPr>
          <p:cNvPr id="34" name="Group 13">
            <a:extLst>
              <a:ext uri="{FF2B5EF4-FFF2-40B4-BE49-F238E27FC236}">
                <a16:creationId xmlns:a16="http://schemas.microsoft.com/office/drawing/2014/main" id="{95C14CA4-0854-4AD2-8495-994B593E7D15}"/>
              </a:ext>
            </a:extLst>
          </p:cNvPr>
          <p:cNvGrpSpPr/>
          <p:nvPr/>
        </p:nvGrpSpPr>
        <p:grpSpPr>
          <a:xfrm>
            <a:off x="695004" y="3956863"/>
            <a:ext cx="3600796" cy="1200329"/>
            <a:chOff x="334963" y="1341438"/>
            <a:chExt cx="3600796" cy="1200329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43493F0-7A34-491C-929C-31BA4C499859}"/>
                </a:ext>
              </a:extLst>
            </p:cNvPr>
            <p:cNvSpPr txBox="1"/>
            <p:nvPr/>
          </p:nvSpPr>
          <p:spPr>
            <a:xfrm>
              <a:off x="334963" y="1341438"/>
              <a:ext cx="72047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7200" dirty="0">
                  <a:solidFill>
                    <a:schemeClr val="accent1"/>
                  </a:solidFill>
                </a:rPr>
                <a:t>4</a:t>
              </a:r>
              <a:endParaRPr lang="en-US" sz="7200" dirty="0">
                <a:solidFill>
                  <a:schemeClr val="accent1"/>
                </a:solidFill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620F348-97DE-4A27-968F-659626349EDA}"/>
                </a:ext>
              </a:extLst>
            </p:cNvPr>
            <p:cNvSpPr txBox="1"/>
            <p:nvPr/>
          </p:nvSpPr>
          <p:spPr>
            <a:xfrm>
              <a:off x="983431" y="1484784"/>
              <a:ext cx="295232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Истории обрабатываются быстрее, чем факты</a:t>
              </a:r>
              <a:endParaRPr lang="en-US" dirty="0"/>
            </a:p>
          </p:txBody>
        </p:sp>
      </p:grpSp>
      <p:grpSp>
        <p:nvGrpSpPr>
          <p:cNvPr id="39" name="Group 16">
            <a:extLst>
              <a:ext uri="{FF2B5EF4-FFF2-40B4-BE49-F238E27FC236}">
                <a16:creationId xmlns:a16="http://schemas.microsoft.com/office/drawing/2014/main" id="{B8081292-4539-4364-8017-76F27E899390}"/>
              </a:ext>
            </a:extLst>
          </p:cNvPr>
          <p:cNvGrpSpPr/>
          <p:nvPr/>
        </p:nvGrpSpPr>
        <p:grpSpPr>
          <a:xfrm>
            <a:off x="4259599" y="3956863"/>
            <a:ext cx="3708609" cy="1200329"/>
            <a:chOff x="334963" y="1341438"/>
            <a:chExt cx="3708609" cy="1200329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832CA98-C8FD-482A-A564-83BA3828FE73}"/>
                </a:ext>
              </a:extLst>
            </p:cNvPr>
            <p:cNvSpPr txBox="1"/>
            <p:nvPr/>
          </p:nvSpPr>
          <p:spPr>
            <a:xfrm>
              <a:off x="334963" y="1341438"/>
              <a:ext cx="72047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7200" dirty="0">
                  <a:solidFill>
                    <a:schemeClr val="accent1"/>
                  </a:solidFill>
                </a:rPr>
                <a:t>5</a:t>
              </a:r>
              <a:endParaRPr lang="en-US" sz="7200" dirty="0">
                <a:solidFill>
                  <a:schemeClr val="accent1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FF76A01-0F11-4676-9DB8-E27B51AD964B}"/>
                </a:ext>
              </a:extLst>
            </p:cNvPr>
            <p:cNvSpPr txBox="1"/>
            <p:nvPr/>
          </p:nvSpPr>
          <p:spPr>
            <a:xfrm>
              <a:off x="983431" y="1484784"/>
              <a:ext cx="306014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Истории запоминаются в 2-7 раз лучше, чем факты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4344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54581EF8-AB04-4646-BBB4-C07055A98E0B}"/>
              </a:ext>
            </a:extLst>
          </p:cNvPr>
          <p:cNvGrpSpPr/>
          <p:nvPr/>
        </p:nvGrpSpPr>
        <p:grpSpPr>
          <a:xfrm>
            <a:off x="6195359" y="3476930"/>
            <a:ext cx="802296" cy="802296"/>
            <a:chOff x="6579579" y="2882900"/>
            <a:chExt cx="802296" cy="802296"/>
          </a:xfrm>
        </p:grpSpPr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88A8B1A2-4655-4816-A7ED-747A071B41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648402" y="2962143"/>
              <a:ext cx="650159" cy="650159"/>
            </a:xfrm>
            <a:prstGeom prst="rect">
              <a:avLst/>
            </a:prstGeom>
          </p:spPr>
        </p:pic>
        <p:sp>
          <p:nvSpPr>
            <p:cNvPr id="33" name="Прямоугольник: скругленные углы 32">
              <a:extLst>
                <a:ext uri="{FF2B5EF4-FFF2-40B4-BE49-F238E27FC236}">
                  <a16:creationId xmlns:a16="http://schemas.microsoft.com/office/drawing/2014/main" id="{6BC26AA3-1EAE-4AC0-9CC7-45DA98BFD006}"/>
                </a:ext>
              </a:extLst>
            </p:cNvPr>
            <p:cNvSpPr/>
            <p:nvPr/>
          </p:nvSpPr>
          <p:spPr>
            <a:xfrm>
              <a:off x="6579579" y="2882900"/>
              <a:ext cx="802296" cy="802296"/>
            </a:xfrm>
            <a:prstGeom prst="roundRect">
              <a:avLst>
                <a:gd name="adj" fmla="val 8231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C6F52CD-3A09-429D-AAD8-1BF450624E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7184" y="3465004"/>
            <a:ext cx="828000" cy="8280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ACBED852-57E2-4D25-8AC7-E2015E618E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65956" y="3465004"/>
            <a:ext cx="828000" cy="8280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8C293611-5D2A-46DB-91DE-2CDC819207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02626" y="3465004"/>
            <a:ext cx="828000" cy="82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3B8C36-7582-4F86-A958-9B66045CB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дписывайся на наши информационные каналы,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чтобы быть в курсе новостей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0EC02C8-DC5B-4DEC-8863-4BD0873CCA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13</a:t>
            </a:fld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2712288-5E77-4F64-A76D-44FC599C8E00}"/>
              </a:ext>
            </a:extLst>
          </p:cNvPr>
          <p:cNvSpPr/>
          <p:nvPr/>
        </p:nvSpPr>
        <p:spPr>
          <a:xfrm>
            <a:off x="241862" y="4986427"/>
            <a:ext cx="2757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err="1">
                <a:solidFill>
                  <a:schemeClr val="accent2"/>
                </a:solidFill>
              </a:rPr>
              <a:t>Digest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ru-RU" sz="1600" dirty="0"/>
              <a:t>чтобы всегда </a:t>
            </a:r>
            <a:r>
              <a:rPr lang="ru-RU" sz="1600" dirty="0" smtClean="0"/>
              <a:t>быть</a:t>
            </a:r>
            <a:r>
              <a:rPr lang="en-US" sz="1600" dirty="0" smtClean="0"/>
              <a:t> </a:t>
            </a:r>
            <a:r>
              <a:rPr lang="ru-RU" sz="1600" dirty="0"/>
              <a:t>в курсе последний новостей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DC2B08A-45D9-4B39-908D-41FA8FBFB0E7}"/>
              </a:ext>
            </a:extLst>
          </p:cNvPr>
          <p:cNvSpPr/>
          <p:nvPr/>
        </p:nvSpPr>
        <p:spPr>
          <a:xfrm>
            <a:off x="8998179" y="4986427"/>
            <a:ext cx="2757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err="1">
                <a:solidFill>
                  <a:schemeClr val="accent2"/>
                </a:solidFill>
              </a:rPr>
              <a:t>Instagram</a:t>
            </a:r>
            <a:r>
              <a:rPr lang="ru-RU" sz="1600" b="1" dirty="0">
                <a:solidFill>
                  <a:schemeClr val="accent2"/>
                </a:solidFill>
              </a:rPr>
              <a:t> 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ru-RU" sz="1600" dirty="0"/>
              <a:t>чтобы участвовать в жизни нашего кейс-сообществ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C67BE2A-FE56-46D9-8433-9C0B15AEFD93}"/>
              </a:ext>
            </a:extLst>
          </p:cNvPr>
          <p:cNvSpPr/>
          <p:nvPr/>
        </p:nvSpPr>
        <p:spPr>
          <a:xfrm>
            <a:off x="3160634" y="4986427"/>
            <a:ext cx="2757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err="1">
                <a:solidFill>
                  <a:schemeClr val="accent2"/>
                </a:solidFill>
              </a:rPr>
              <a:t>Facebook</a:t>
            </a:r>
            <a:r>
              <a:rPr lang="ru-RU" sz="1600" b="1" dirty="0">
                <a:solidFill>
                  <a:schemeClr val="accent2"/>
                </a:solidFill>
              </a:rPr>
              <a:t> </a:t>
            </a:r>
            <a:endParaRPr lang="en-US" sz="1600" b="1" dirty="0">
              <a:solidFill>
                <a:schemeClr val="accent2"/>
              </a:solidFill>
            </a:endParaRPr>
          </a:p>
          <a:p>
            <a:r>
              <a:rPr lang="ru-RU" sz="1600" dirty="0"/>
              <a:t>чтобы общаться с единомышленниками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D21AF92-AA8C-4BE1-BC8F-FAB9D77E1DF1}"/>
              </a:ext>
            </a:extLst>
          </p:cNvPr>
          <p:cNvSpPr/>
          <p:nvPr/>
        </p:nvSpPr>
        <p:spPr>
          <a:xfrm>
            <a:off x="6079406" y="4986427"/>
            <a:ext cx="27571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err="1">
                <a:solidFill>
                  <a:schemeClr val="accent2"/>
                </a:solidFill>
              </a:rPr>
              <a:t>Вконтакте</a:t>
            </a:r>
            <a:r>
              <a:rPr lang="ru-RU" sz="1600" dirty="0"/>
              <a:t> 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ru-RU" sz="1600" dirty="0"/>
              <a:t>чтобы читать интересную и актуальную аналитику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F9D5053-5C8D-447F-B9F1-90EE2B09BC5D}"/>
              </a:ext>
            </a:extLst>
          </p:cNvPr>
          <p:cNvSpPr/>
          <p:nvPr/>
        </p:nvSpPr>
        <p:spPr>
          <a:xfrm>
            <a:off x="241862" y="4378342"/>
            <a:ext cx="27571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hlinkClick r:id="rId10"/>
              </a:rPr>
              <a:t>https://changellenge.com/</a:t>
            </a:r>
            <a:r>
              <a:rPr lang="ru-RU" sz="1600" dirty="0">
                <a:hlinkClick r:id="rId10"/>
              </a:rPr>
              <a:t/>
            </a:r>
            <a:br>
              <a:rPr lang="ru-RU" sz="1600" dirty="0">
                <a:hlinkClick r:id="rId10"/>
              </a:rPr>
            </a:br>
            <a:r>
              <a:rPr lang="en-US" sz="1600" dirty="0">
                <a:hlinkClick r:id="rId10"/>
              </a:rPr>
              <a:t>digest/</a:t>
            </a:r>
            <a:r>
              <a:rPr lang="ru-RU" sz="1600" dirty="0"/>
              <a:t> </a:t>
            </a:r>
            <a:endParaRPr lang="en-US" sz="1600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EBF94F6E-228B-4DE6-9237-A7721D91D6C5}"/>
              </a:ext>
            </a:extLst>
          </p:cNvPr>
          <p:cNvSpPr/>
          <p:nvPr/>
        </p:nvSpPr>
        <p:spPr>
          <a:xfrm>
            <a:off x="8998179" y="4378342"/>
            <a:ext cx="27571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hlinkClick r:id="rId11"/>
              </a:rPr>
              <a:t>https://www.instagram.com/changellenge/</a:t>
            </a:r>
            <a:r>
              <a:rPr lang="ru-RU" sz="1600" dirty="0"/>
              <a:t> 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A010A8E-F1B6-456F-BA9C-04E2F13DDE21}"/>
              </a:ext>
            </a:extLst>
          </p:cNvPr>
          <p:cNvSpPr/>
          <p:nvPr/>
        </p:nvSpPr>
        <p:spPr>
          <a:xfrm>
            <a:off x="3160634" y="4378342"/>
            <a:ext cx="27571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hlinkClick r:id="rId12"/>
              </a:rPr>
              <a:t>https://www.facebook.com/</a:t>
            </a:r>
            <a:r>
              <a:rPr lang="ru-RU" sz="1600" dirty="0">
                <a:hlinkClick r:id="rId12"/>
              </a:rPr>
              <a:t/>
            </a:r>
            <a:br>
              <a:rPr lang="ru-RU" sz="1600" dirty="0">
                <a:hlinkClick r:id="rId12"/>
              </a:rPr>
            </a:br>
            <a:r>
              <a:rPr lang="en-US" sz="1600" dirty="0">
                <a:hlinkClick r:id="rId12"/>
              </a:rPr>
              <a:t>Changellenge</a:t>
            </a:r>
            <a:r>
              <a:rPr lang="ru-RU" sz="1600" dirty="0"/>
              <a:t>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1A86795-40F1-4C74-A7AF-176FA020DD27}"/>
              </a:ext>
            </a:extLst>
          </p:cNvPr>
          <p:cNvSpPr/>
          <p:nvPr/>
        </p:nvSpPr>
        <p:spPr>
          <a:xfrm>
            <a:off x="6079406" y="4378342"/>
            <a:ext cx="27571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hlinkClick r:id="rId13"/>
              </a:rPr>
              <a:t>https://vk.com/changellengeglobal</a:t>
            </a:r>
            <a:r>
              <a:rPr lang="ru-RU" sz="1600" dirty="0"/>
              <a:t> </a:t>
            </a:r>
          </a:p>
        </p:txBody>
      </p:sp>
      <p:sp>
        <p:nvSpPr>
          <p:cNvPr id="35" name="Прямоугольник 5">
            <a:extLst>
              <a:ext uri="{FF2B5EF4-FFF2-40B4-BE49-F238E27FC236}">
                <a16:creationId xmlns:a16="http://schemas.microsoft.com/office/drawing/2014/main" id="{3086317E-1AC3-4831-BF7F-B8C325DA53A3}"/>
              </a:ext>
            </a:extLst>
          </p:cNvPr>
          <p:cNvSpPr/>
          <p:nvPr/>
        </p:nvSpPr>
        <p:spPr>
          <a:xfrm>
            <a:off x="233117" y="1941273"/>
            <a:ext cx="66672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4800" u="sng" dirty="0">
                <a:solidFill>
                  <a:schemeClr val="bg1"/>
                </a:solidFill>
                <a:ea typeface="MS PGothic" panose="020B0600070205080204" pitchFamily="34" charset="-128"/>
                <a:cs typeface="Arial" panose="020B0604020202020204" pitchFamily="34" charset="0"/>
                <a:hlinkClick r:id="rId14"/>
              </a:rPr>
              <a:t>http://changellenge.com</a:t>
            </a:r>
            <a:endParaRPr lang="ru-RU" sz="4800" u="sng" dirty="0">
              <a:solidFill>
                <a:schemeClr val="bg1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73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0EC02C8-DC5B-4DEC-8863-4BD0873CCA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14</a:t>
            </a:fld>
            <a:endParaRPr lang="ru-RU" dirty="0"/>
          </a:p>
        </p:txBody>
      </p:sp>
      <p:sp>
        <p:nvSpPr>
          <p:cNvPr id="35" name="Прямоугольник 5">
            <a:extLst>
              <a:ext uri="{FF2B5EF4-FFF2-40B4-BE49-F238E27FC236}">
                <a16:creationId xmlns:a16="http://schemas.microsoft.com/office/drawing/2014/main" id="{3086317E-1AC3-4831-BF7F-B8C325DA53A3}"/>
              </a:ext>
            </a:extLst>
          </p:cNvPr>
          <p:cNvSpPr/>
          <p:nvPr/>
        </p:nvSpPr>
        <p:spPr>
          <a:xfrm>
            <a:off x="2762367" y="5546452"/>
            <a:ext cx="66672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800" u="sng" dirty="0">
                <a:solidFill>
                  <a:schemeClr val="bg1"/>
                </a:solidFill>
                <a:ea typeface="MS PGothic" panose="020B0600070205080204" pitchFamily="34" charset="-128"/>
                <a:cs typeface="Arial" panose="020B0604020202020204" pitchFamily="34" charset="0"/>
                <a:hlinkClick r:id="rId2"/>
              </a:rPr>
              <a:t>http://changellenge.com</a:t>
            </a:r>
            <a:endParaRPr lang="ru-RU" sz="4800" u="sng" dirty="0">
              <a:solidFill>
                <a:schemeClr val="bg1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97B1B18-D88C-2A46-8C2B-37FB7DAD18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2402" y="235886"/>
            <a:ext cx="5307194" cy="530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958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E8AD65-A470-4E9E-99DC-0C6C24D67FD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87163" y="6381750"/>
            <a:ext cx="604837" cy="287338"/>
          </a:xfrm>
        </p:spPr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194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FAEBCBC-BC82-419B-9E2B-33F7A845E977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5" name="Rectangle 4"/>
          <p:cNvSpPr/>
          <p:nvPr/>
        </p:nvSpPr>
        <p:spPr>
          <a:xfrm>
            <a:off x="343820" y="3212975"/>
            <a:ext cx="11152780" cy="25202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Рисунок 5"/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" b="504"/>
          <a:stretch>
            <a:fillRect/>
          </a:stretch>
        </p:blipFill>
        <p:spPr/>
      </p:pic>
      <p:sp>
        <p:nvSpPr>
          <p:cNvPr id="15" name="Текст 5">
            <a:extLst>
              <a:ext uri="{FF2B5EF4-FFF2-40B4-BE49-F238E27FC236}">
                <a16:creationId xmlns:a16="http://schemas.microsoft.com/office/drawing/2014/main" id="{B2D69E24-AFB1-4C07-9969-89950A62FA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11314" y="1664804"/>
            <a:ext cx="4788942" cy="523220"/>
          </a:xfrm>
        </p:spPr>
        <p:txBody>
          <a:bodyPr/>
          <a:lstStyle/>
          <a:p>
            <a:r>
              <a:rPr lang="ru-RU" dirty="0" smtClean="0"/>
              <a:t>Валентина </a:t>
            </a:r>
            <a:r>
              <a:rPr lang="ru-RU" dirty="0" err="1" smtClean="0"/>
              <a:t>Ворожейкина</a:t>
            </a:r>
            <a:endParaRPr lang="ru-RU" dirty="0"/>
          </a:p>
        </p:txBody>
      </p:sp>
      <p:sp>
        <p:nvSpPr>
          <p:cNvPr id="16" name="Текст 6">
            <a:extLst>
              <a:ext uri="{FF2B5EF4-FFF2-40B4-BE49-F238E27FC236}">
                <a16:creationId xmlns:a16="http://schemas.microsoft.com/office/drawing/2014/main" id="{75A1A6E6-6B13-495D-8A96-3E6D8404A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11314" y="2092786"/>
            <a:ext cx="4788942" cy="400110"/>
          </a:xfrm>
        </p:spPr>
        <p:txBody>
          <a:bodyPr/>
          <a:lstStyle/>
          <a:p>
            <a:r>
              <a:rPr lang="ru-RU" dirty="0" smtClean="0">
                <a:solidFill>
                  <a:schemeClr val="bg1">
                    <a:lumMod val="65000"/>
                  </a:schemeClr>
                </a:solidFill>
              </a:rPr>
              <a:t>Аналитик </a:t>
            </a:r>
            <a:r>
              <a:rPr lang="en-US" dirty="0" err="1" smtClean="0">
                <a:solidFill>
                  <a:schemeClr val="bg1">
                    <a:lumMod val="65000"/>
                  </a:schemeClr>
                </a:solidFill>
              </a:rPr>
              <a:t>Changellenge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 &gt;&gt;</a:t>
            </a:r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4F596C79-88AB-40D4-9B25-F7B52CC977B2}"/>
              </a:ext>
            </a:extLst>
          </p:cNvPr>
          <p:cNvSpPr txBox="1">
            <a:spLocks/>
          </p:cNvSpPr>
          <p:nvPr/>
        </p:nvSpPr>
        <p:spPr>
          <a:xfrm>
            <a:off x="3624964" y="3291368"/>
            <a:ext cx="7272586" cy="236988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2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>
                <a:solidFill>
                  <a:schemeClr val="accent1"/>
                </a:solidFill>
              </a:rPr>
              <a:t>2018-2019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>
                <a:solidFill>
                  <a:schemeClr val="accent1"/>
                </a:solidFill>
              </a:rPr>
              <a:t>—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smtClean="0">
                <a:solidFill>
                  <a:schemeClr val="accent1"/>
                </a:solidFill>
              </a:rPr>
              <a:t>аналитик </a:t>
            </a:r>
            <a:r>
              <a:rPr lang="en-US" sz="1600" dirty="0" err="1" smtClean="0">
                <a:solidFill>
                  <a:schemeClr val="accent1"/>
                </a:solidFill>
              </a:rPr>
              <a:t>Changellenge</a:t>
            </a:r>
            <a:r>
              <a:rPr lang="en-US" sz="1600" dirty="0" smtClean="0">
                <a:solidFill>
                  <a:schemeClr val="accent1"/>
                </a:solidFill>
              </a:rPr>
              <a:t> &gt;&gt;</a:t>
            </a:r>
            <a:endParaRPr lang="ru-RU" sz="16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разработка бизнес-кейсов</a:t>
            </a:r>
            <a:endParaRPr lang="ru-RU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err="1" smtClean="0"/>
              <a:t>геймдизайн</a:t>
            </a:r>
            <a:r>
              <a:rPr lang="ru-RU" sz="1600" dirty="0" smtClean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другие </a:t>
            </a:r>
            <a:r>
              <a:rPr lang="ru-RU" sz="1600" dirty="0" smtClean="0"/>
              <a:t>проекты данного направления</a:t>
            </a:r>
            <a:endParaRPr lang="ru-RU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1600" dirty="0"/>
          </a:p>
          <a:p>
            <a:r>
              <a:rPr lang="ru-RU" sz="1600" dirty="0" smtClean="0">
                <a:solidFill>
                  <a:schemeClr val="accent1"/>
                </a:solidFill>
              </a:rPr>
              <a:t>2016-2018 </a:t>
            </a:r>
            <a:r>
              <a:rPr lang="ru-RU" sz="1600" dirty="0">
                <a:solidFill>
                  <a:schemeClr val="accent1"/>
                </a:solidFill>
              </a:rPr>
              <a:t>— </a:t>
            </a:r>
            <a:r>
              <a:rPr lang="ru-RU" sz="1600" dirty="0" smtClean="0">
                <a:solidFill>
                  <a:schemeClr val="accent1"/>
                </a:solidFill>
              </a:rPr>
              <a:t>трейдер </a:t>
            </a:r>
            <a:r>
              <a:rPr lang="en-US" sz="1600" dirty="0" smtClean="0">
                <a:solidFill>
                  <a:schemeClr val="accent1"/>
                </a:solidFill>
              </a:rPr>
              <a:t>OSTC-</a:t>
            </a:r>
            <a:r>
              <a:rPr lang="ru-RU" sz="1600" dirty="0" err="1" smtClean="0">
                <a:solidFill>
                  <a:schemeClr val="accent1"/>
                </a:solidFill>
              </a:rPr>
              <a:t>Атон</a:t>
            </a:r>
            <a:endParaRPr lang="ru-RU" sz="16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торговля фьючерсными спредами на европейском и американском рынках</a:t>
            </a:r>
            <a:endParaRPr lang="ru-RU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err="1" smtClean="0"/>
              <a:t>интрадейтрейдинг</a:t>
            </a:r>
            <a:r>
              <a:rPr lang="ru-RU" sz="1600" dirty="0" smtClean="0"/>
              <a:t>, краткосрочная торговля, риск-менеджмент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550399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ы обсудим, почему структурировать информацию недостаточно для максимально эффективной подачи материала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3</a:t>
            </a:fld>
            <a:endParaRPr lang="ru-RU" dirty="0"/>
          </a:p>
        </p:txBody>
      </p:sp>
      <p:sp>
        <p:nvSpPr>
          <p:cNvPr id="87" name="Прямоугольник 86"/>
          <p:cNvSpPr/>
          <p:nvPr/>
        </p:nvSpPr>
        <p:spPr>
          <a:xfrm>
            <a:off x="695400" y="1866597"/>
            <a:ext cx="5662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2"/>
                </a:solidFill>
              </a:rPr>
              <a:t>Пирамида </a:t>
            </a:r>
            <a:r>
              <a:rPr lang="ru-RU" sz="2400" b="1" dirty="0" err="1">
                <a:solidFill>
                  <a:schemeClr val="accent2"/>
                </a:solidFill>
              </a:rPr>
              <a:t>Минто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521B822A-EAA7-48E1-BB5A-77AD74A999C5}"/>
              </a:ext>
            </a:extLst>
          </p:cNvPr>
          <p:cNvGrpSpPr/>
          <p:nvPr/>
        </p:nvGrpSpPr>
        <p:grpSpPr>
          <a:xfrm>
            <a:off x="2063552" y="2853421"/>
            <a:ext cx="7402914" cy="3073007"/>
            <a:chOff x="7968208" y="2107523"/>
            <a:chExt cx="4223792" cy="1753329"/>
          </a:xfrm>
        </p:grpSpPr>
        <p:sp>
          <p:nvSpPr>
            <p:cNvPr id="89" name="Равнобедренный треугольник 88">
              <a:extLst>
                <a:ext uri="{FF2B5EF4-FFF2-40B4-BE49-F238E27FC236}">
                  <a16:creationId xmlns:a16="http://schemas.microsoft.com/office/drawing/2014/main" id="{F2E8BFF5-09A8-4C50-81FF-AEE03468FD97}"/>
                </a:ext>
              </a:extLst>
            </p:cNvPr>
            <p:cNvSpPr/>
            <p:nvPr/>
          </p:nvSpPr>
          <p:spPr>
            <a:xfrm>
              <a:off x="8044014" y="2107523"/>
              <a:ext cx="3871390" cy="1753329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90" name="Прямоугольник 89">
              <a:extLst>
                <a:ext uri="{FF2B5EF4-FFF2-40B4-BE49-F238E27FC236}">
                  <a16:creationId xmlns:a16="http://schemas.microsoft.com/office/drawing/2014/main" id="{8225AFB4-0DA8-4FB4-B629-C761BDABFA07}"/>
                </a:ext>
              </a:extLst>
            </p:cNvPr>
            <p:cNvSpPr/>
            <p:nvPr/>
          </p:nvSpPr>
          <p:spPr>
            <a:xfrm>
              <a:off x="7968208" y="3069419"/>
              <a:ext cx="886844" cy="347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91" name="Прямоугольник 90">
              <a:extLst>
                <a:ext uri="{FF2B5EF4-FFF2-40B4-BE49-F238E27FC236}">
                  <a16:creationId xmlns:a16="http://schemas.microsoft.com/office/drawing/2014/main" id="{B1DDDD50-FC3F-40EA-A3DD-32168A8EA4EF}"/>
                </a:ext>
              </a:extLst>
            </p:cNvPr>
            <p:cNvSpPr/>
            <p:nvPr/>
          </p:nvSpPr>
          <p:spPr>
            <a:xfrm>
              <a:off x="8991274" y="3069419"/>
              <a:ext cx="811038" cy="347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92" name="Прямоугольник 91">
              <a:extLst>
                <a:ext uri="{FF2B5EF4-FFF2-40B4-BE49-F238E27FC236}">
                  <a16:creationId xmlns:a16="http://schemas.microsoft.com/office/drawing/2014/main" id="{583E3CF4-00EA-43B9-8725-9B0780D7EC51}"/>
                </a:ext>
              </a:extLst>
            </p:cNvPr>
            <p:cNvSpPr/>
            <p:nvPr/>
          </p:nvSpPr>
          <p:spPr>
            <a:xfrm>
              <a:off x="8662325" y="2619139"/>
              <a:ext cx="811038" cy="347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1BECAB51-295C-4669-B7EF-2092CCD0D88D}"/>
                </a:ext>
              </a:extLst>
            </p:cNvPr>
            <p:cNvSpPr/>
            <p:nvPr/>
          </p:nvSpPr>
          <p:spPr>
            <a:xfrm>
              <a:off x="10100420" y="3069419"/>
              <a:ext cx="811038" cy="347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94" name="Прямоугольник 93">
              <a:extLst>
                <a:ext uri="{FF2B5EF4-FFF2-40B4-BE49-F238E27FC236}">
                  <a16:creationId xmlns:a16="http://schemas.microsoft.com/office/drawing/2014/main" id="{9FD13E29-7F4A-4EAB-86E5-BFDEFFF81DEF}"/>
                </a:ext>
              </a:extLst>
            </p:cNvPr>
            <p:cNvSpPr/>
            <p:nvPr/>
          </p:nvSpPr>
          <p:spPr>
            <a:xfrm>
              <a:off x="11047680" y="3069419"/>
              <a:ext cx="811038" cy="347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5B46B9D8-E273-407A-A988-5AEE29A2C2DE}"/>
                </a:ext>
              </a:extLst>
            </p:cNvPr>
            <p:cNvSpPr/>
            <p:nvPr/>
          </p:nvSpPr>
          <p:spPr>
            <a:xfrm>
              <a:off x="10488488" y="2619139"/>
              <a:ext cx="811038" cy="347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:a16="http://schemas.microsoft.com/office/drawing/2014/main" id="{F4CBB6ED-3F41-4E17-B024-7B7059948505}"/>
                </a:ext>
              </a:extLst>
            </p:cNvPr>
            <p:cNvSpPr/>
            <p:nvPr/>
          </p:nvSpPr>
          <p:spPr>
            <a:xfrm>
              <a:off x="9582582" y="2168860"/>
              <a:ext cx="811038" cy="34727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CA3CF39-4069-4E5E-A4DE-581D41D7F812}"/>
                </a:ext>
              </a:extLst>
            </p:cNvPr>
            <p:cNvSpPr txBox="1"/>
            <p:nvPr/>
          </p:nvSpPr>
          <p:spPr>
            <a:xfrm>
              <a:off x="9579911" y="2224506"/>
              <a:ext cx="811038" cy="2160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ru-RU" dirty="0"/>
                <a:t>Вода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73BA6A64-D813-484C-88BC-BF19D7A74ACC}"/>
                </a:ext>
              </a:extLst>
            </p:cNvPr>
            <p:cNvSpPr txBox="1"/>
            <p:nvPr/>
          </p:nvSpPr>
          <p:spPr>
            <a:xfrm>
              <a:off x="8669338" y="2686570"/>
              <a:ext cx="811038" cy="2160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ru-RU" dirty="0"/>
                <a:t>Пресная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14A23128-E3FC-46B0-92CD-088EA25D78C5}"/>
                </a:ext>
              </a:extLst>
            </p:cNvPr>
            <p:cNvSpPr txBox="1"/>
            <p:nvPr/>
          </p:nvSpPr>
          <p:spPr>
            <a:xfrm>
              <a:off x="7968208" y="3102333"/>
              <a:ext cx="950503" cy="2880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ru-RU" dirty="0" err="1"/>
                <a:t>Мине-ральная</a:t>
              </a:r>
              <a:endParaRPr lang="ru-RU" dirty="0"/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552209BA-550E-47AA-9415-E3EBA6F7E610}"/>
                </a:ext>
              </a:extLst>
            </p:cNvPr>
            <p:cNvSpPr txBox="1"/>
            <p:nvPr/>
          </p:nvSpPr>
          <p:spPr>
            <a:xfrm>
              <a:off x="8923364" y="3102333"/>
              <a:ext cx="950503" cy="2880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ru-RU" dirty="0"/>
                <a:t>Обычная пресная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F0DF5A49-5055-4143-BF15-F744AC8ECCBF}"/>
                </a:ext>
              </a:extLst>
            </p:cNvPr>
            <p:cNvSpPr txBox="1"/>
            <p:nvPr/>
          </p:nvSpPr>
          <p:spPr>
            <a:xfrm>
              <a:off x="10494946" y="2686570"/>
              <a:ext cx="811038" cy="2160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ru-RU" dirty="0"/>
                <a:t>Соленая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EE198E9-72D6-4079-B3E5-3A5DDDD3FD13}"/>
                </a:ext>
              </a:extLst>
            </p:cNvPr>
            <p:cNvSpPr txBox="1"/>
            <p:nvPr/>
          </p:nvSpPr>
          <p:spPr>
            <a:xfrm>
              <a:off x="10028943" y="3102333"/>
              <a:ext cx="950503" cy="2880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ru-RU" dirty="0"/>
                <a:t>Слабо- соленая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FCC18A96-B775-4FBA-970F-F36178A29F1B}"/>
                </a:ext>
              </a:extLst>
            </p:cNvPr>
            <p:cNvSpPr txBox="1"/>
            <p:nvPr/>
          </p:nvSpPr>
          <p:spPr>
            <a:xfrm>
              <a:off x="10983081" y="3102333"/>
              <a:ext cx="950503" cy="2880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ru-RU" dirty="0"/>
                <a:t>Морская соленость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16DDDC90-C15C-454B-ADB3-ABF42AEF0859}"/>
                </a:ext>
              </a:extLst>
            </p:cNvPr>
            <p:cNvSpPr txBox="1"/>
            <p:nvPr/>
          </p:nvSpPr>
          <p:spPr>
            <a:xfrm>
              <a:off x="7984404" y="3416218"/>
              <a:ext cx="864094" cy="444634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грунтовая</a:t>
              </a:r>
            </a:p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напорная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66561EFA-2FEC-4E27-89BC-4928060A27CB}"/>
                </a:ext>
              </a:extLst>
            </p:cNvPr>
            <p:cNvSpPr txBox="1"/>
            <p:nvPr/>
          </p:nvSpPr>
          <p:spPr>
            <a:xfrm>
              <a:off x="8930536" y="3416218"/>
              <a:ext cx="1125904" cy="444634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колодезная</a:t>
              </a:r>
            </a:p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артезианская</a:t>
              </a:r>
            </a:p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родниковая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EB402472-16CD-407E-81BC-69C56C53D40D}"/>
                </a:ext>
              </a:extLst>
            </p:cNvPr>
            <p:cNvSpPr txBox="1"/>
            <p:nvPr/>
          </p:nvSpPr>
          <p:spPr>
            <a:xfrm>
              <a:off x="10047364" y="3416218"/>
              <a:ext cx="864094" cy="444634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речная</a:t>
              </a:r>
            </a:p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озерная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9FCA6D61-9668-45BB-B11D-85137D58719C}"/>
                </a:ext>
              </a:extLst>
            </p:cNvPr>
            <p:cNvSpPr txBox="1"/>
            <p:nvPr/>
          </p:nvSpPr>
          <p:spPr>
            <a:xfrm>
              <a:off x="10989180" y="3416218"/>
              <a:ext cx="1202820" cy="444634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lstStyle/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океаническая</a:t>
              </a:r>
            </a:p>
            <a:p>
              <a:pPr marL="88900" indent="-88900">
                <a:lnSpc>
                  <a:spcPct val="80000"/>
                </a:lnSpc>
                <a:buFont typeface="Arial" panose="020B0604020202020204" pitchFamily="34" charset="0"/>
                <a:buChar char="•"/>
              </a:pPr>
              <a:r>
                <a:rPr lang="ru-RU" sz="1600" dirty="0"/>
                <a:t>морская</a:t>
              </a:r>
            </a:p>
          </p:txBody>
        </p:sp>
        <p:cxnSp>
          <p:nvCxnSpPr>
            <p:cNvPr id="108" name="Соединитель: уступ 27">
              <a:extLst>
                <a:ext uri="{FF2B5EF4-FFF2-40B4-BE49-F238E27FC236}">
                  <a16:creationId xmlns:a16="http://schemas.microsoft.com/office/drawing/2014/main" id="{7356B05D-A7D3-401D-8EF0-971BE9508BF7}"/>
                </a:ext>
              </a:extLst>
            </p:cNvPr>
            <p:cNvCxnSpPr>
              <a:stCxn id="96" idx="2"/>
              <a:endCxn id="92" idx="0"/>
            </p:cNvCxnSpPr>
            <p:nvPr/>
          </p:nvCxnSpPr>
          <p:spPr>
            <a:xfrm rot="5400000">
              <a:off x="9476471" y="2107508"/>
              <a:ext cx="103005" cy="920257"/>
            </a:xfrm>
            <a:prstGeom prst="bentConnector3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Соединитель: уступ 28">
              <a:extLst>
                <a:ext uri="{FF2B5EF4-FFF2-40B4-BE49-F238E27FC236}">
                  <a16:creationId xmlns:a16="http://schemas.microsoft.com/office/drawing/2014/main" id="{D509987E-2FA2-472D-BBAF-54122D67B135}"/>
                </a:ext>
              </a:extLst>
            </p:cNvPr>
            <p:cNvCxnSpPr>
              <a:stCxn id="96" idx="2"/>
              <a:endCxn id="95" idx="0"/>
            </p:cNvCxnSpPr>
            <p:nvPr/>
          </p:nvCxnSpPr>
          <p:spPr>
            <a:xfrm rot="16200000" flipH="1">
              <a:off x="10389552" y="2114683"/>
              <a:ext cx="103005" cy="905906"/>
            </a:xfrm>
            <a:prstGeom prst="bentConnector3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Соединитель: уступ 29">
              <a:extLst>
                <a:ext uri="{FF2B5EF4-FFF2-40B4-BE49-F238E27FC236}">
                  <a16:creationId xmlns:a16="http://schemas.microsoft.com/office/drawing/2014/main" id="{E517DBF2-9D09-4D81-8D4A-850F3B09BDA6}"/>
                </a:ext>
              </a:extLst>
            </p:cNvPr>
            <p:cNvCxnSpPr>
              <a:stCxn id="92" idx="2"/>
              <a:endCxn id="90" idx="0"/>
            </p:cNvCxnSpPr>
            <p:nvPr/>
          </p:nvCxnSpPr>
          <p:spPr>
            <a:xfrm rot="5400000">
              <a:off x="8688234" y="2689809"/>
              <a:ext cx="103006" cy="656214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Соединитель: уступ 30">
              <a:extLst>
                <a:ext uri="{FF2B5EF4-FFF2-40B4-BE49-F238E27FC236}">
                  <a16:creationId xmlns:a16="http://schemas.microsoft.com/office/drawing/2014/main" id="{BDA5BB34-FE5F-4404-AB27-72BF6F782928}"/>
                </a:ext>
              </a:extLst>
            </p:cNvPr>
            <p:cNvCxnSpPr>
              <a:stCxn id="92" idx="2"/>
              <a:endCxn id="91" idx="0"/>
            </p:cNvCxnSpPr>
            <p:nvPr/>
          </p:nvCxnSpPr>
          <p:spPr>
            <a:xfrm rot="16200000" flipH="1">
              <a:off x="9180815" y="2853441"/>
              <a:ext cx="103006" cy="328949"/>
            </a:xfrm>
            <a:prstGeom prst="bentConnector3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Соединитель: уступ 31">
              <a:extLst>
                <a:ext uri="{FF2B5EF4-FFF2-40B4-BE49-F238E27FC236}">
                  <a16:creationId xmlns:a16="http://schemas.microsoft.com/office/drawing/2014/main" id="{10C77745-E941-4EAC-AFA3-758C47A3BA66}"/>
                </a:ext>
              </a:extLst>
            </p:cNvPr>
            <p:cNvCxnSpPr>
              <a:stCxn id="95" idx="2"/>
              <a:endCxn id="93" idx="0"/>
            </p:cNvCxnSpPr>
            <p:nvPr/>
          </p:nvCxnSpPr>
          <p:spPr>
            <a:xfrm rot="5400000">
              <a:off x="10648470" y="2823882"/>
              <a:ext cx="103006" cy="388068"/>
            </a:xfrm>
            <a:prstGeom prst="bentConnector3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Соединитель: уступ 32">
              <a:extLst>
                <a:ext uri="{FF2B5EF4-FFF2-40B4-BE49-F238E27FC236}">
                  <a16:creationId xmlns:a16="http://schemas.microsoft.com/office/drawing/2014/main" id="{040B6CD7-B952-4AFD-889E-DC106FD9006B}"/>
                </a:ext>
              </a:extLst>
            </p:cNvPr>
            <p:cNvCxnSpPr>
              <a:stCxn id="95" idx="2"/>
              <a:endCxn id="94" idx="0"/>
            </p:cNvCxnSpPr>
            <p:nvPr/>
          </p:nvCxnSpPr>
          <p:spPr>
            <a:xfrm rot="16200000" flipH="1">
              <a:off x="11122100" y="2738320"/>
              <a:ext cx="103006" cy="559192"/>
            </a:xfrm>
            <a:prstGeom prst="bentConnector3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051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ы обсудим, почему структурировать информацию недостаточно для максимально эффективной подачи материала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4</a:t>
            </a:fld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695400" y="1866597"/>
            <a:ext cx="5662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Структурированный текст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010611C-F60A-4879-99D5-0BA67A7F0257}"/>
              </a:ext>
            </a:extLst>
          </p:cNvPr>
          <p:cNvSpPr txBox="1"/>
          <p:nvPr/>
        </p:nvSpPr>
        <p:spPr>
          <a:xfrm>
            <a:off x="695400" y="2889518"/>
            <a:ext cx="8136904" cy="255454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000" dirty="0"/>
              <a:t>Вода классифицируется по солености:</a:t>
            </a:r>
          </a:p>
          <a:p>
            <a:endParaRPr lang="ru-RU" sz="2000" dirty="0"/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ru-RU" sz="2000" dirty="0"/>
              <a:t>Пресная:</a:t>
            </a:r>
          </a:p>
          <a:p>
            <a:pPr marL="641350" lvl="1" indent="-285750">
              <a:buFont typeface="Courier New" panose="02070309020205020404" pitchFamily="49" charset="0"/>
              <a:buChar char="o"/>
            </a:pPr>
            <a:r>
              <a:rPr lang="ru-RU" sz="2000" dirty="0"/>
              <a:t>Минеральная (грунтовая, напорная)</a:t>
            </a:r>
          </a:p>
          <a:p>
            <a:pPr marL="641350" lvl="1" indent="-285750">
              <a:buFont typeface="Courier New" panose="02070309020205020404" pitchFamily="49" charset="0"/>
              <a:buChar char="o"/>
            </a:pPr>
            <a:r>
              <a:rPr lang="ru-RU" sz="2000" dirty="0"/>
              <a:t>Обычная пресная (родниковая, колодезная, артезианская)</a:t>
            </a:r>
          </a:p>
          <a:p>
            <a:pPr marL="76200" indent="-177800">
              <a:buFont typeface="Arial" panose="020B0604020202020204" pitchFamily="34" charset="0"/>
              <a:buChar char="•"/>
            </a:pPr>
            <a:r>
              <a:rPr lang="ru-RU" sz="2000" dirty="0"/>
              <a:t>Соленая:</a:t>
            </a:r>
          </a:p>
          <a:p>
            <a:pPr marL="641350" lvl="1" indent="-285750">
              <a:buFont typeface="Courier New" panose="02070309020205020404" pitchFamily="49" charset="0"/>
              <a:buChar char="o"/>
            </a:pPr>
            <a:r>
              <a:rPr lang="ru-RU" sz="2000" dirty="0"/>
              <a:t>Слабосоленая (речная, озерная)</a:t>
            </a:r>
          </a:p>
          <a:p>
            <a:pPr marL="641350" lvl="1" indent="-285750">
              <a:buFont typeface="Courier New" panose="02070309020205020404" pitchFamily="49" charset="0"/>
              <a:buChar char="o"/>
            </a:pPr>
            <a:r>
              <a:rPr lang="ru-RU" sz="2000" dirty="0"/>
              <a:t>С морской соленостью (морская, океаническая)</a:t>
            </a:r>
          </a:p>
        </p:txBody>
      </p:sp>
    </p:spTree>
    <p:extLst>
      <p:ext uri="{BB962C8B-B14F-4D97-AF65-F5344CB8AC3E}">
        <p14:creationId xmlns:p14="http://schemas.microsoft.com/office/powerpoint/2010/main" val="400209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35067"/>
            <a:ext cx="12192000" cy="8569234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000 </a:t>
            </a:r>
            <a:r>
              <a:rPr lang="ru-RU" dirty="0" smtClean="0"/>
              <a:t>лет до нашей эры…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114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2507937" y="1412776"/>
            <a:ext cx="7176126" cy="5258995"/>
            <a:chOff x="2853073" y="1412776"/>
            <a:chExt cx="7176126" cy="5258995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56240" y="5045395"/>
              <a:ext cx="1772959" cy="1626376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010611C-F60A-4879-99D5-0BA67A7F0257}"/>
                </a:ext>
              </a:extLst>
            </p:cNvPr>
            <p:cNvSpPr txBox="1"/>
            <p:nvPr/>
          </p:nvSpPr>
          <p:spPr>
            <a:xfrm>
              <a:off x="2853073" y="1412776"/>
              <a:ext cx="6485854" cy="409342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2000" dirty="0" smtClean="0"/>
                <a:t>Друзья, сегодня нашего соплеменника загрыз тигр.</a:t>
              </a:r>
            </a:p>
            <a:p>
              <a:endParaRPr lang="ru-RU" sz="2000" dirty="0" smtClean="0"/>
            </a:p>
            <a:p>
              <a:r>
                <a:rPr lang="ru-RU" sz="2000" dirty="0" smtClean="0"/>
                <a:t>Вот несколько причин, почему это могло произойти: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2000" dirty="0" smtClean="0"/>
                <a:t>У тигров острые зубы и когти.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2000" dirty="0" smtClean="0"/>
                <a:t>Тигры быстрее человека в 4,5 раз.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2000" dirty="0" smtClean="0"/>
                <a:t>У тигров очень хороший нюх и слух, они чуют добычу издалека.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2000" dirty="0" smtClean="0"/>
                <a:t>Тигры нападают на отстающую от стаи особь.</a:t>
              </a:r>
            </a:p>
            <a:p>
              <a:pPr marL="457200" indent="-457200">
                <a:buFont typeface="+mj-lt"/>
                <a:buAutoNum type="arabicPeriod"/>
              </a:pPr>
              <a:endParaRPr lang="ru-RU" sz="2000" dirty="0"/>
            </a:p>
            <a:p>
              <a:r>
                <a:rPr lang="ru-RU" sz="2000" dirty="0" smtClean="0"/>
                <a:t>Поэтому: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2000" dirty="0" smtClean="0"/>
                <a:t>Не охотьтесь в зоне обитания тигров.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2000" dirty="0" smtClean="0"/>
                <a:t>Не отставайте от группы остальных мужчин.</a:t>
              </a:r>
            </a:p>
            <a:p>
              <a:pPr marL="457200" indent="-457200">
                <a:buFont typeface="+mj-lt"/>
                <a:buAutoNum type="arabicPeriod"/>
              </a:pPr>
              <a:r>
                <a:rPr lang="ru-RU" sz="2000" dirty="0" smtClean="0"/>
                <a:t>Будьте осторожны на охоте.</a:t>
              </a:r>
              <a:endParaRPr lang="ru-RU" sz="2000" dirty="0"/>
            </a:p>
          </p:txBody>
        </p:sp>
      </p:grp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, если вожак племени был бы таким же структурным, как аналитики </a:t>
            </a:r>
            <a:r>
              <a:rPr lang="en-US" dirty="0" err="1" smtClean="0"/>
              <a:t>C</a:t>
            </a:r>
            <a:r>
              <a:rPr lang="en-US" dirty="0" err="1"/>
              <a:t>h</a:t>
            </a:r>
            <a:r>
              <a:rPr lang="en-US" dirty="0" err="1" smtClean="0"/>
              <a:t>angellenge</a:t>
            </a:r>
            <a:r>
              <a:rPr lang="en-US" dirty="0" smtClean="0"/>
              <a:t> &gt;&gt;</a:t>
            </a:r>
            <a:r>
              <a:rPr lang="ru-RU" dirty="0" smtClean="0"/>
              <a:t>? 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088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7</a:t>
            </a:fld>
            <a:endParaRPr lang="ru-RU" dirty="0"/>
          </a:p>
        </p:txBody>
      </p:sp>
      <p:pic>
        <p:nvPicPr>
          <p:cNvPr id="2" name="videoplayback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59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028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id="{8F9220C9-15A6-4CDC-96D1-13EC7C2C15C3}"/>
              </a:ext>
            </a:extLst>
          </p:cNvPr>
          <p:cNvSpPr txBox="1"/>
          <p:nvPr/>
        </p:nvSpPr>
        <p:spPr>
          <a:xfrm>
            <a:off x="5924549" y="3341406"/>
            <a:ext cx="136928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600" dirty="0" smtClean="0">
                <a:solidFill>
                  <a:schemeClr val="bg1">
                    <a:lumMod val="85000"/>
                  </a:schemeClr>
                </a:solidFill>
              </a:rPr>
              <a:t>4</a:t>
            </a:r>
            <a:endParaRPr lang="ru-RU" sz="16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F9220C9-15A6-4CDC-96D1-13EC7C2C15C3}"/>
              </a:ext>
            </a:extLst>
          </p:cNvPr>
          <p:cNvSpPr txBox="1"/>
          <p:nvPr/>
        </p:nvSpPr>
        <p:spPr>
          <a:xfrm>
            <a:off x="539250" y="3341406"/>
            <a:ext cx="136928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600" dirty="0" smtClean="0">
                <a:solidFill>
                  <a:schemeClr val="bg1">
                    <a:lumMod val="85000"/>
                  </a:schemeClr>
                </a:solidFill>
              </a:rPr>
              <a:t>3</a:t>
            </a:r>
            <a:endParaRPr lang="ru-RU" sz="16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9220C9-15A6-4CDC-96D1-13EC7C2C15C3}"/>
              </a:ext>
            </a:extLst>
          </p:cNvPr>
          <p:cNvSpPr txBox="1"/>
          <p:nvPr/>
        </p:nvSpPr>
        <p:spPr>
          <a:xfrm>
            <a:off x="5924549" y="640362"/>
            <a:ext cx="136928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600" dirty="0" smtClean="0">
                <a:solidFill>
                  <a:schemeClr val="bg1">
                    <a:lumMod val="85000"/>
                  </a:schemeClr>
                </a:solidFill>
              </a:rPr>
              <a:t>2</a:t>
            </a:r>
            <a:endParaRPr lang="ru-RU" sz="16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9220C9-15A6-4CDC-96D1-13EC7C2C15C3}"/>
              </a:ext>
            </a:extLst>
          </p:cNvPr>
          <p:cNvSpPr txBox="1"/>
          <p:nvPr/>
        </p:nvSpPr>
        <p:spPr>
          <a:xfrm>
            <a:off x="539250" y="640362"/>
            <a:ext cx="136928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600" dirty="0">
                <a:solidFill>
                  <a:schemeClr val="bg1">
                    <a:lumMod val="85000"/>
                  </a:schemeClr>
                </a:solidFill>
              </a:rPr>
              <a:t>1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EBCE1A9-35D6-411A-9558-F83321F91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ука подтверждает, что истории запоминаются лучше сухих фактов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8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62308" y="1622252"/>
            <a:ext cx="382635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chemeClr val="accent2"/>
                </a:solidFill>
              </a:rPr>
              <a:t>Лимбическая система</a:t>
            </a:r>
            <a:endParaRPr lang="ru-RU" sz="2400" b="1" dirty="0">
              <a:solidFill>
                <a:schemeClr val="accent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62744" y="2011227"/>
            <a:ext cx="3825144" cy="184982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ru-RU" dirty="0" smtClean="0"/>
              <a:t>Часть человеческого мозга, отвечающая за эмоции, инстинкты и рефлексы. </a:t>
            </a:r>
          </a:p>
          <a:p>
            <a:r>
              <a:rPr lang="ru-RU" dirty="0" smtClean="0"/>
              <a:t>Именно она активируется, когда необходимо быстро принять решение</a:t>
            </a:r>
            <a:endParaRPr lang="ru-RU" dirty="0"/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21DD92F-B423-4C0B-B260-91E6AC5CD7D3}"/>
              </a:ext>
            </a:extLst>
          </p:cNvPr>
          <p:cNvSpPr/>
          <p:nvPr/>
        </p:nvSpPr>
        <p:spPr>
          <a:xfrm>
            <a:off x="6671110" y="1622252"/>
            <a:ext cx="4609465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chemeClr val="accent2"/>
                </a:solidFill>
              </a:rPr>
              <a:t>Связь с эмоциями и опытом</a:t>
            </a:r>
            <a:endParaRPr lang="ru-RU" sz="2400" b="1" dirty="0">
              <a:solidFill>
                <a:schemeClr val="accent2"/>
              </a:solidFill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1A7B14F-A617-4E16-AB2D-6ACE674DFCBF}"/>
              </a:ext>
            </a:extLst>
          </p:cNvPr>
          <p:cNvSpPr/>
          <p:nvPr/>
        </p:nvSpPr>
        <p:spPr>
          <a:xfrm>
            <a:off x="6671111" y="2004498"/>
            <a:ext cx="3826800" cy="13986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ru-RU" dirty="0" smtClean="0"/>
              <a:t>Лимбическая система принимает решения, основываясь на эмоциях и пережитом опыте</a:t>
            </a:r>
            <a:endParaRPr lang="ru-RU" dirty="0"/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58B5812-FC69-49C1-826B-0E669B93F7E5}"/>
              </a:ext>
            </a:extLst>
          </p:cNvPr>
          <p:cNvSpPr/>
          <p:nvPr/>
        </p:nvSpPr>
        <p:spPr>
          <a:xfrm>
            <a:off x="1262309" y="4391146"/>
            <a:ext cx="3826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chemeClr val="accent2"/>
                </a:solidFill>
              </a:rPr>
              <a:t>Скорость реакции</a:t>
            </a:r>
            <a:endParaRPr lang="ru-RU" sz="2400" b="1" dirty="0">
              <a:solidFill>
                <a:schemeClr val="accent2"/>
              </a:solidFill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F0DF787A-D4C4-455E-AFB3-E0B066FA087B}"/>
              </a:ext>
            </a:extLst>
          </p:cNvPr>
          <p:cNvSpPr/>
          <p:nvPr/>
        </p:nvSpPr>
        <p:spPr>
          <a:xfrm>
            <a:off x="1262743" y="4838682"/>
            <a:ext cx="3826800" cy="13986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ru-RU" dirty="0" smtClean="0"/>
              <a:t>Лимбическая </a:t>
            </a:r>
            <a:r>
              <a:rPr lang="ru-RU" dirty="0"/>
              <a:t>система принимает решения в 4 раза быстрее, </a:t>
            </a:r>
            <a:r>
              <a:rPr lang="ru-RU" dirty="0" smtClean="0"/>
              <a:t>чем участки головного мозга, отвечающие за логику</a:t>
            </a:r>
            <a:endParaRPr lang="ru-RU" dirty="0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2B185E2E-E0AB-4B48-AC0C-F51654F7F687}"/>
              </a:ext>
            </a:extLst>
          </p:cNvPr>
          <p:cNvSpPr/>
          <p:nvPr/>
        </p:nvSpPr>
        <p:spPr>
          <a:xfrm>
            <a:off x="6671110" y="4391146"/>
            <a:ext cx="4825490" cy="38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chemeClr val="accent2"/>
                </a:solidFill>
              </a:rPr>
              <a:t>Истории лучше фактов</a:t>
            </a:r>
            <a:r>
              <a:rPr lang="en-US" sz="2400" b="1" dirty="0" smtClean="0">
                <a:solidFill>
                  <a:schemeClr val="accent2"/>
                </a:solidFill>
              </a:rPr>
              <a:t> </a:t>
            </a:r>
            <a:endParaRPr lang="ru-RU" sz="2400" b="1" dirty="0">
              <a:solidFill>
                <a:schemeClr val="accent2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6E9C9BE-495E-44AC-84E0-EF8305807C2E}"/>
              </a:ext>
            </a:extLst>
          </p:cNvPr>
          <p:cNvSpPr/>
          <p:nvPr/>
        </p:nvSpPr>
        <p:spPr>
          <a:xfrm>
            <a:off x="6671545" y="4838682"/>
            <a:ext cx="3826800" cy="13986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ru-RU" dirty="0" smtClean="0"/>
              <a:t>Наукой было неоднократно доказано, что истории запоминаются людям в 2-7 раз лучше сухих фактов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75" y="2020288"/>
            <a:ext cx="846003" cy="84600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133" y="2020288"/>
            <a:ext cx="846000" cy="846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78" y="4691997"/>
            <a:ext cx="846000" cy="8460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133" y="4691997"/>
            <a:ext cx="846000" cy="8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94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id="{8F9220C9-15A6-4CDC-96D1-13EC7C2C15C3}"/>
              </a:ext>
            </a:extLst>
          </p:cNvPr>
          <p:cNvSpPr txBox="1"/>
          <p:nvPr/>
        </p:nvSpPr>
        <p:spPr>
          <a:xfrm>
            <a:off x="5924549" y="3341406"/>
            <a:ext cx="136928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600" dirty="0" smtClean="0">
                <a:solidFill>
                  <a:schemeClr val="bg1">
                    <a:lumMod val="85000"/>
                  </a:schemeClr>
                </a:solidFill>
              </a:rPr>
              <a:t>4</a:t>
            </a:r>
            <a:endParaRPr lang="ru-RU" sz="16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F9220C9-15A6-4CDC-96D1-13EC7C2C15C3}"/>
              </a:ext>
            </a:extLst>
          </p:cNvPr>
          <p:cNvSpPr txBox="1"/>
          <p:nvPr/>
        </p:nvSpPr>
        <p:spPr>
          <a:xfrm>
            <a:off x="539250" y="3341406"/>
            <a:ext cx="136928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600" dirty="0" smtClean="0">
                <a:solidFill>
                  <a:schemeClr val="bg1">
                    <a:lumMod val="85000"/>
                  </a:schemeClr>
                </a:solidFill>
              </a:rPr>
              <a:t>3</a:t>
            </a:r>
            <a:endParaRPr lang="ru-RU" sz="16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F9220C9-15A6-4CDC-96D1-13EC7C2C15C3}"/>
              </a:ext>
            </a:extLst>
          </p:cNvPr>
          <p:cNvSpPr txBox="1"/>
          <p:nvPr/>
        </p:nvSpPr>
        <p:spPr>
          <a:xfrm>
            <a:off x="5924549" y="640362"/>
            <a:ext cx="136928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600" dirty="0" smtClean="0">
                <a:solidFill>
                  <a:schemeClr val="bg1">
                    <a:lumMod val="85000"/>
                  </a:schemeClr>
                </a:solidFill>
              </a:rPr>
              <a:t>2</a:t>
            </a:r>
            <a:endParaRPr lang="ru-RU" sz="16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9220C9-15A6-4CDC-96D1-13EC7C2C15C3}"/>
              </a:ext>
            </a:extLst>
          </p:cNvPr>
          <p:cNvSpPr txBox="1"/>
          <p:nvPr/>
        </p:nvSpPr>
        <p:spPr>
          <a:xfrm>
            <a:off x="539250" y="640362"/>
            <a:ext cx="1369286" cy="26468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600" dirty="0">
                <a:solidFill>
                  <a:schemeClr val="bg1">
                    <a:lumMod val="85000"/>
                  </a:schemeClr>
                </a:solidFill>
              </a:rPr>
              <a:t>1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EBCE1A9-35D6-411A-9558-F83321F91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стории можно применять в разных аспектах рабо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5FAEBCBC-BC82-419B-9E2B-33F7A845E977}" type="slidenum">
              <a:rPr lang="ru-RU" smtClean="0"/>
              <a:pPr algn="r"/>
              <a:t>9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62308" y="1622252"/>
            <a:ext cx="38263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2"/>
                </a:solidFill>
              </a:rPr>
              <a:t>В текстах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62744" y="2011227"/>
            <a:ext cx="3825144" cy="184982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ru-RU" dirty="0"/>
              <a:t>Сюжеты в </a:t>
            </a:r>
            <a:r>
              <a:rPr lang="ru-RU" dirty="0" smtClean="0"/>
              <a:t>книгах</a:t>
            </a:r>
            <a:r>
              <a:rPr lang="ru-RU" dirty="0"/>
              <a:t>, </a:t>
            </a:r>
            <a:r>
              <a:rPr lang="ru-RU" dirty="0" smtClean="0"/>
              <a:t>статьях, на </a:t>
            </a:r>
            <a:r>
              <a:rPr lang="ru-RU" dirty="0" err="1" smtClean="0"/>
              <a:t>лендингах</a:t>
            </a:r>
            <a:r>
              <a:rPr lang="ru-RU" dirty="0" smtClean="0"/>
              <a:t>, в рассылках и </a:t>
            </a:r>
            <a:r>
              <a:rPr lang="ru-RU" dirty="0"/>
              <a:t>других документах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21DD92F-B423-4C0B-B260-91E6AC5CD7D3}"/>
              </a:ext>
            </a:extLst>
          </p:cNvPr>
          <p:cNvSpPr/>
          <p:nvPr/>
        </p:nvSpPr>
        <p:spPr>
          <a:xfrm>
            <a:off x="6671110" y="1622252"/>
            <a:ext cx="5410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2"/>
                </a:solidFill>
              </a:rPr>
              <a:t>В </a:t>
            </a:r>
            <a:r>
              <a:rPr lang="ru-RU" sz="2400" b="1" dirty="0">
                <a:solidFill>
                  <a:schemeClr val="accent2"/>
                </a:solidFill>
              </a:rPr>
              <a:t>презентациях и выступлениях</a:t>
            </a:r>
            <a:endParaRPr lang="ru-RU" sz="2400" b="1" dirty="0">
              <a:solidFill>
                <a:schemeClr val="accent2"/>
              </a:solidFill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41A7B14F-A617-4E16-AB2D-6ACE674DFCBF}"/>
              </a:ext>
            </a:extLst>
          </p:cNvPr>
          <p:cNvSpPr/>
          <p:nvPr/>
        </p:nvSpPr>
        <p:spPr>
          <a:xfrm>
            <a:off x="6671111" y="2004498"/>
            <a:ext cx="3826800" cy="13986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Единая сюжетная </a:t>
            </a:r>
            <a:r>
              <a:rPr lang="ru-RU" dirty="0" smtClean="0"/>
              <a:t>линия </a:t>
            </a:r>
            <a:r>
              <a:rPr lang="ru-RU" dirty="0"/>
              <a:t>в презентациях </a:t>
            </a:r>
            <a:r>
              <a:rPr lang="ru-RU" dirty="0" smtClean="0"/>
              <a:t>и выступления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имеры-истории</a:t>
            </a:r>
            <a:endParaRPr lang="ru-RU" dirty="0"/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58B5812-FC69-49C1-826B-0E669B93F7E5}"/>
              </a:ext>
            </a:extLst>
          </p:cNvPr>
          <p:cNvSpPr/>
          <p:nvPr/>
        </p:nvSpPr>
        <p:spPr>
          <a:xfrm>
            <a:off x="1262308" y="4391146"/>
            <a:ext cx="49720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2"/>
                </a:solidFill>
              </a:rPr>
              <a:t>В играх и видео-контенте</a:t>
            </a:r>
            <a:endParaRPr lang="en-US" sz="2400" b="1" dirty="0">
              <a:solidFill>
                <a:schemeClr val="accent2"/>
              </a:solidFill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F0DF787A-D4C4-455E-AFB3-E0B066FA087B}"/>
              </a:ext>
            </a:extLst>
          </p:cNvPr>
          <p:cNvSpPr/>
          <p:nvPr/>
        </p:nvSpPr>
        <p:spPr>
          <a:xfrm>
            <a:off x="1262743" y="4838682"/>
            <a:ext cx="3826800" cy="13986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ru-RU" dirty="0" smtClean="0"/>
              <a:t>Сюжет </a:t>
            </a:r>
            <a:r>
              <a:rPr lang="ru-RU" dirty="0"/>
              <a:t>и нарратив в </a:t>
            </a:r>
            <a:r>
              <a:rPr lang="ru-RU" dirty="0" smtClean="0"/>
              <a:t>играх и видео</a:t>
            </a:r>
            <a:endParaRPr lang="ru-RU" dirty="0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2B185E2E-E0AB-4B48-AC0C-F51654F7F687}"/>
              </a:ext>
            </a:extLst>
          </p:cNvPr>
          <p:cNvSpPr/>
          <p:nvPr/>
        </p:nvSpPr>
        <p:spPr>
          <a:xfrm>
            <a:off x="6671110" y="4391146"/>
            <a:ext cx="48254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2"/>
                </a:solidFill>
              </a:rPr>
              <a:t>Во внутренних материалах</a:t>
            </a:r>
            <a:endParaRPr lang="ru-RU" sz="2400" b="1" dirty="0">
              <a:solidFill>
                <a:schemeClr val="accent2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6E9C9BE-495E-44AC-84E0-EF8305807C2E}"/>
              </a:ext>
            </a:extLst>
          </p:cNvPr>
          <p:cNvSpPr/>
          <p:nvPr/>
        </p:nvSpPr>
        <p:spPr>
          <a:xfrm>
            <a:off x="6671545" y="4838682"/>
            <a:ext cx="3826800" cy="13986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ru-RU" dirty="0"/>
              <a:t>Истории и нарратив в </a:t>
            </a:r>
            <a:r>
              <a:rPr lang="ru-RU" dirty="0" smtClean="0"/>
              <a:t>правилах</a:t>
            </a:r>
            <a:r>
              <a:rPr lang="ru-RU" dirty="0"/>
              <a:t>, бизнес-процессах, </a:t>
            </a:r>
            <a:r>
              <a:rPr lang="ru-RU" dirty="0" err="1" smtClean="0"/>
              <a:t>гайдах</a:t>
            </a:r>
            <a:r>
              <a:rPr lang="ru-RU" dirty="0" smtClean="0"/>
              <a:t>, методичках, письмах </a:t>
            </a:r>
            <a:r>
              <a:rPr lang="ru-RU" dirty="0"/>
              <a:t>коллегам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133" y="4691997"/>
            <a:ext cx="846000" cy="846000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133" y="2090137"/>
            <a:ext cx="846000" cy="84600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72" y="2096011"/>
            <a:ext cx="846000" cy="84600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17" y="4691997"/>
            <a:ext cx="846000" cy="8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23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angellenge &gt;&gt; Whisper. Без месседжей">
  <a:themeElements>
    <a:clrScheme name="Changellenge New">
      <a:dk1>
        <a:sysClr val="windowText" lastClr="000000"/>
      </a:dk1>
      <a:lt1>
        <a:sysClr val="window" lastClr="FFFFFF"/>
      </a:lt1>
      <a:dk2>
        <a:srgbClr val="1E2129"/>
      </a:dk2>
      <a:lt2>
        <a:srgbClr val="D6DCDC"/>
      </a:lt2>
      <a:accent1>
        <a:srgbClr val="E4222F"/>
      </a:accent1>
      <a:accent2>
        <a:srgbClr val="4B5261"/>
      </a:accent2>
      <a:accent3>
        <a:srgbClr val="D6DCDC"/>
      </a:accent3>
      <a:accent4>
        <a:srgbClr val="1E2129"/>
      </a:accent4>
      <a:accent5>
        <a:srgbClr val="CC66FF"/>
      </a:accent5>
      <a:accent6>
        <a:srgbClr val="FF9933"/>
      </a:accent6>
      <a:hlink>
        <a:srgbClr val="ED2024"/>
      </a:hlink>
      <a:folHlink>
        <a:srgbClr val="BA0F1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1">
          <a:schemeClr val="dk1"/>
        </a:lnRef>
        <a:fillRef idx="3">
          <a:schemeClr val="dk1"/>
        </a:fillRef>
        <a:effectRef idx="2">
          <a:schemeClr val="dk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3464B69D-64FE-4DB7-B0AE-AABE4F6A94B8}" vid="{50A3757B-0404-457C-8978-6784B324A11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L_Template_16x9</Template>
  <TotalTime>1882</TotalTime>
  <Words>519</Words>
  <Application>Microsoft Office PowerPoint</Application>
  <PresentationFormat>Широкоэкранный</PresentationFormat>
  <Paragraphs>132</Paragraphs>
  <Slides>15</Slides>
  <Notes>3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3" baseType="lpstr">
      <vt:lpstr>ＭＳ Ｐゴシック</vt:lpstr>
      <vt:lpstr>ＭＳ Ｐゴシック</vt:lpstr>
      <vt:lpstr>PT Sans</vt:lpstr>
      <vt:lpstr>Arial</vt:lpstr>
      <vt:lpstr>Calibri</vt:lpstr>
      <vt:lpstr>Courier New</vt:lpstr>
      <vt:lpstr>Changellenge &gt;&gt; Whisper. Без месседжей</vt:lpstr>
      <vt:lpstr>think-cell Slide</vt:lpstr>
      <vt:lpstr>Сторителлинг</vt:lpstr>
      <vt:lpstr>Презентация PowerPoint</vt:lpstr>
      <vt:lpstr>Мы обсудим, почему структурировать информацию недостаточно для максимально эффективной подачи материала</vt:lpstr>
      <vt:lpstr>Мы обсудим, почему структурировать информацию недостаточно для максимально эффективной подачи материала</vt:lpstr>
      <vt:lpstr>4000 лет до нашей эры…</vt:lpstr>
      <vt:lpstr>Что, если вожак племени был бы таким же структурным, как аналитики Changellenge &gt;&gt;? </vt:lpstr>
      <vt:lpstr>Презентация PowerPoint</vt:lpstr>
      <vt:lpstr>Наука подтверждает, что истории запоминаются лучше сухих фактов</vt:lpstr>
      <vt:lpstr>Истории можно применять в разных аспектах работы</vt:lpstr>
      <vt:lpstr>Пример. Введение кейса</vt:lpstr>
      <vt:lpstr>Пример. Рабочее письмо коллегам</vt:lpstr>
      <vt:lpstr>Истории работают эффективнее просто структурированной информации</vt:lpstr>
      <vt:lpstr>Подписывайся на наши информационные каналы,  чтобы быть в курсе новостей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izaveta Oginskaya</dc:creator>
  <cp:lastModifiedBy>admin</cp:lastModifiedBy>
  <cp:revision>101</cp:revision>
  <dcterms:created xsi:type="dcterms:W3CDTF">2019-12-13T08:54:46Z</dcterms:created>
  <dcterms:modified xsi:type="dcterms:W3CDTF">2019-12-21T10:01:07Z</dcterms:modified>
</cp:coreProperties>
</file>